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0" r:id="rId1"/>
    <p:sldMasterId id="2147483682" r:id="rId2"/>
    <p:sldMasterId id="2147483684" r:id="rId3"/>
  </p:sldMasterIdLst>
  <p:notesMasterIdLst>
    <p:notesMasterId r:id="rId9"/>
  </p:notesMasterIdLst>
  <p:sldIdLst>
    <p:sldId id="256" r:id="rId4"/>
    <p:sldId id="385" r:id="rId5"/>
    <p:sldId id="387" r:id="rId6"/>
    <p:sldId id="384" r:id="rId7"/>
    <p:sldId id="388" r:id="rId8"/>
  </p:sldIdLst>
  <p:sldSz cx="9144000" cy="5143500" type="screen16x9"/>
  <p:notesSz cx="6858000" cy="9144000"/>
  <p:embeddedFontLst>
    <p:embeddedFont>
      <p:font typeface="Amiko" panose="020B0604020202020204" charset="0"/>
      <p:regular r:id="rId10"/>
      <p:bold r:id="rId11"/>
    </p:embeddedFont>
    <p:embeddedFont>
      <p:font typeface="Barlow ExtraBold" panose="00000900000000000000" pitchFamily="2" charset="0"/>
      <p:bold r:id="rId12"/>
      <p:boldItalic r:id="rId13"/>
    </p:embeddedFont>
    <p:embeddedFont>
      <p:font typeface="Bebas Neue" panose="020B0606020202050201" pitchFamily="34" charset="0"/>
      <p:regular r:id="rId14"/>
    </p:embeddedFon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Calibri Light" panose="020F0302020204030204" pitchFamily="34" charset="0"/>
      <p:regular r:id="rId19"/>
      <p:italic r:id="rId20"/>
    </p:embeddedFont>
    <p:embeddedFont>
      <p:font typeface="Helvetica" panose="020B0604020202020204" pitchFamily="34" charset="0"/>
      <p:regular r:id="rId21"/>
      <p:bold r:id="rId22"/>
      <p:italic r:id="rId23"/>
      <p:boldItalic r:id="rId24"/>
    </p:embeddedFont>
    <p:embeddedFont>
      <p:font typeface="Open Sans" panose="020B0606030504020204" pitchFamily="34" charset="0"/>
      <p:regular r:id="rId25"/>
      <p:bold r:id="rId26"/>
      <p:italic r:id="rId27"/>
      <p:boldItalic r:id="rId28"/>
    </p:embeddedFont>
  </p:embeddedFontLst>
  <p:custDataLst>
    <p:tags r:id="rId2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852"/>
    <a:srgbClr val="ED165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41A70A6-49AE-4855-A014-09526D44CFEB}">
  <a:tblStyle styleId="{E41A70A6-49AE-4855-A014-09526D44CFEB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230" autoAdjust="0"/>
  </p:normalViewPr>
  <p:slideViewPr>
    <p:cSldViewPr snapToGrid="0">
      <p:cViewPr varScale="1">
        <p:scale>
          <a:sx n="105" d="100"/>
          <a:sy n="105" d="100"/>
        </p:scale>
        <p:origin x="82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26" Type="http://schemas.openxmlformats.org/officeDocument/2006/relationships/font" Target="fonts/font17.fntdata"/><Relationship Id="rId3" Type="http://schemas.openxmlformats.org/officeDocument/2006/relationships/slideMaster" Target="slideMasters/slideMaster3.xml"/><Relationship Id="rId21" Type="http://schemas.openxmlformats.org/officeDocument/2006/relationships/font" Target="fonts/font12.fntdata"/><Relationship Id="rId7" Type="http://schemas.openxmlformats.org/officeDocument/2006/relationships/slide" Target="slides/slide4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5" Type="http://schemas.openxmlformats.org/officeDocument/2006/relationships/font" Target="fonts/font16.fntdata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7.fntdata"/><Relationship Id="rId20" Type="http://schemas.openxmlformats.org/officeDocument/2006/relationships/font" Target="fonts/font11.fntdata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font" Target="fonts/font2.fntdata"/><Relationship Id="rId24" Type="http://schemas.openxmlformats.org/officeDocument/2006/relationships/font" Target="fonts/font15.fntdata"/><Relationship Id="rId32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font" Target="fonts/font6.fntdata"/><Relationship Id="rId23" Type="http://schemas.openxmlformats.org/officeDocument/2006/relationships/font" Target="fonts/font14.fntdata"/><Relationship Id="rId28" Type="http://schemas.openxmlformats.org/officeDocument/2006/relationships/font" Target="fonts/font19.fntdata"/><Relationship Id="rId10" Type="http://schemas.openxmlformats.org/officeDocument/2006/relationships/font" Target="fonts/font1.fntdata"/><Relationship Id="rId19" Type="http://schemas.openxmlformats.org/officeDocument/2006/relationships/font" Target="fonts/font10.fntdata"/><Relationship Id="rId31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5.fntdata"/><Relationship Id="rId22" Type="http://schemas.openxmlformats.org/officeDocument/2006/relationships/font" Target="fonts/font13.fntdata"/><Relationship Id="rId27" Type="http://schemas.openxmlformats.org/officeDocument/2006/relationships/font" Target="fonts/font18.fntdata"/><Relationship Id="rId30" Type="http://schemas.openxmlformats.org/officeDocument/2006/relationships/presProps" Target="presProps.xml"/><Relationship Id="rId8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9" name="Google Shape;519;g18ddcdd357f_0_1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0" name="Google Shape;520;g18ddcdd357f_0_1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>
            <a:spLocks noGrp="1"/>
          </p:cNvSpPr>
          <p:nvPr>
            <p:ph type="pic" idx="2"/>
          </p:nvPr>
        </p:nvSpPr>
        <p:spPr>
          <a:xfrm>
            <a:off x="5466075" y="531900"/>
            <a:ext cx="2963100" cy="4079700"/>
          </a:xfrm>
          <a:prstGeom prst="rect">
            <a:avLst/>
          </a:prstGeom>
          <a:noFill/>
          <a:ln>
            <a:noFill/>
          </a:ln>
        </p:spPr>
      </p:sp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608193" y="367806"/>
            <a:ext cx="4305000" cy="941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8550">
                <a:latin typeface="Amiko"/>
                <a:ea typeface="Amiko"/>
                <a:cs typeface="Amiko"/>
                <a:sym typeface="Amiko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638900" y="4061556"/>
            <a:ext cx="2278200" cy="591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ubTitle" idx="3"/>
          </p:nvPr>
        </p:nvSpPr>
        <p:spPr>
          <a:xfrm>
            <a:off x="608193" y="1271124"/>
            <a:ext cx="4305000" cy="1114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300">
                <a:solidFill>
                  <a:schemeClr val="dk1"/>
                </a:solidFill>
                <a:latin typeface="Amiko"/>
                <a:ea typeface="Amiko"/>
                <a:cs typeface="Amiko"/>
                <a:sym typeface="Amiko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9pPr>
          </a:lstStyle>
          <a:p>
            <a:endParaRPr/>
          </a:p>
        </p:txBody>
      </p:sp>
      <p:grpSp>
        <p:nvGrpSpPr>
          <p:cNvPr id="13" name="Google Shape;13;p2"/>
          <p:cNvGrpSpPr/>
          <p:nvPr/>
        </p:nvGrpSpPr>
        <p:grpSpPr>
          <a:xfrm>
            <a:off x="4030826" y="3267373"/>
            <a:ext cx="644323" cy="1341290"/>
            <a:chOff x="2544700" y="238000"/>
            <a:chExt cx="2510025" cy="5225125"/>
          </a:xfrm>
        </p:grpSpPr>
        <p:sp>
          <p:nvSpPr>
            <p:cNvPr id="14" name="Google Shape;14;p2"/>
            <p:cNvSpPr/>
            <p:nvPr/>
          </p:nvSpPr>
          <p:spPr>
            <a:xfrm>
              <a:off x="2544700" y="238000"/>
              <a:ext cx="2510025" cy="5225125"/>
            </a:xfrm>
            <a:custGeom>
              <a:avLst/>
              <a:gdLst/>
              <a:ahLst/>
              <a:cxnLst/>
              <a:rect l="l" t="t" r="r" b="b"/>
              <a:pathLst>
                <a:path w="100401" h="209005" extrusionOk="0">
                  <a:moveTo>
                    <a:pt x="96122" y="5"/>
                  </a:moveTo>
                  <a:cubicBezTo>
                    <a:pt x="93710" y="5"/>
                    <a:pt x="92451" y="1520"/>
                    <a:pt x="92084" y="3825"/>
                  </a:cubicBezTo>
                  <a:cubicBezTo>
                    <a:pt x="92228" y="6269"/>
                    <a:pt x="93398" y="7870"/>
                    <a:pt x="95842" y="8055"/>
                  </a:cubicBezTo>
                  <a:cubicBezTo>
                    <a:pt x="95992" y="8066"/>
                    <a:pt x="96138" y="8071"/>
                    <a:pt x="96282" y="8071"/>
                  </a:cubicBezTo>
                  <a:cubicBezTo>
                    <a:pt x="98634" y="8071"/>
                    <a:pt x="100099" y="6654"/>
                    <a:pt x="100195" y="4215"/>
                  </a:cubicBezTo>
                  <a:cubicBezTo>
                    <a:pt x="100319" y="1607"/>
                    <a:pt x="98758" y="46"/>
                    <a:pt x="96170" y="5"/>
                  </a:cubicBezTo>
                  <a:cubicBezTo>
                    <a:pt x="96154" y="5"/>
                    <a:pt x="96138" y="5"/>
                    <a:pt x="96122" y="5"/>
                  </a:cubicBezTo>
                  <a:close/>
                  <a:moveTo>
                    <a:pt x="65531" y="5"/>
                  </a:moveTo>
                  <a:cubicBezTo>
                    <a:pt x="62861" y="5"/>
                    <a:pt x="61383" y="1689"/>
                    <a:pt x="61465" y="4215"/>
                  </a:cubicBezTo>
                  <a:cubicBezTo>
                    <a:pt x="61526" y="6500"/>
                    <a:pt x="62966" y="8076"/>
                    <a:pt x="65442" y="8076"/>
                  </a:cubicBezTo>
                  <a:cubicBezTo>
                    <a:pt x="65458" y="8076"/>
                    <a:pt x="65474" y="8076"/>
                    <a:pt x="65490" y="8076"/>
                  </a:cubicBezTo>
                  <a:cubicBezTo>
                    <a:pt x="68159" y="8055"/>
                    <a:pt x="69433" y="6474"/>
                    <a:pt x="69576" y="3907"/>
                  </a:cubicBezTo>
                  <a:lnTo>
                    <a:pt x="69576" y="3886"/>
                  </a:lnTo>
                  <a:cubicBezTo>
                    <a:pt x="69309" y="1463"/>
                    <a:pt x="67975" y="5"/>
                    <a:pt x="65531" y="5"/>
                  </a:cubicBezTo>
                  <a:close/>
                  <a:moveTo>
                    <a:pt x="4108" y="19"/>
                  </a:moveTo>
                  <a:cubicBezTo>
                    <a:pt x="1673" y="19"/>
                    <a:pt x="225" y="1540"/>
                    <a:pt x="186" y="4051"/>
                  </a:cubicBezTo>
                  <a:cubicBezTo>
                    <a:pt x="144" y="6494"/>
                    <a:pt x="1664" y="7768"/>
                    <a:pt x="3985" y="8137"/>
                  </a:cubicBezTo>
                  <a:cubicBezTo>
                    <a:pt x="6428" y="7994"/>
                    <a:pt x="8030" y="6844"/>
                    <a:pt x="8215" y="4420"/>
                  </a:cubicBezTo>
                  <a:cubicBezTo>
                    <a:pt x="8420" y="1792"/>
                    <a:pt x="6983" y="149"/>
                    <a:pt x="4395" y="26"/>
                  </a:cubicBezTo>
                  <a:cubicBezTo>
                    <a:pt x="4298" y="21"/>
                    <a:pt x="4202" y="19"/>
                    <a:pt x="4108" y="19"/>
                  </a:cubicBezTo>
                  <a:close/>
                  <a:moveTo>
                    <a:pt x="34995" y="1"/>
                  </a:moveTo>
                  <a:cubicBezTo>
                    <a:pt x="34920" y="1"/>
                    <a:pt x="34844" y="2"/>
                    <a:pt x="34768" y="5"/>
                  </a:cubicBezTo>
                  <a:cubicBezTo>
                    <a:pt x="32139" y="108"/>
                    <a:pt x="30743" y="1709"/>
                    <a:pt x="30887" y="4338"/>
                  </a:cubicBezTo>
                  <a:cubicBezTo>
                    <a:pt x="31031" y="6844"/>
                    <a:pt x="32591" y="7973"/>
                    <a:pt x="34953" y="8137"/>
                  </a:cubicBezTo>
                  <a:cubicBezTo>
                    <a:pt x="37458" y="7911"/>
                    <a:pt x="38937" y="6433"/>
                    <a:pt x="38937" y="4112"/>
                  </a:cubicBezTo>
                  <a:cubicBezTo>
                    <a:pt x="38937" y="1679"/>
                    <a:pt x="37522" y="1"/>
                    <a:pt x="34995" y="1"/>
                  </a:cubicBezTo>
                  <a:close/>
                  <a:moveTo>
                    <a:pt x="34850" y="33438"/>
                  </a:moveTo>
                  <a:cubicBezTo>
                    <a:pt x="32468" y="33746"/>
                    <a:pt x="30928" y="34896"/>
                    <a:pt x="30866" y="37422"/>
                  </a:cubicBezTo>
                  <a:cubicBezTo>
                    <a:pt x="30825" y="40112"/>
                    <a:pt x="32406" y="41570"/>
                    <a:pt x="34932" y="41570"/>
                  </a:cubicBezTo>
                  <a:cubicBezTo>
                    <a:pt x="37335" y="41570"/>
                    <a:pt x="38896" y="40030"/>
                    <a:pt x="38937" y="37648"/>
                  </a:cubicBezTo>
                  <a:cubicBezTo>
                    <a:pt x="38978" y="35101"/>
                    <a:pt x="37397" y="33684"/>
                    <a:pt x="34850" y="33438"/>
                  </a:cubicBezTo>
                  <a:close/>
                  <a:moveTo>
                    <a:pt x="96202" y="33499"/>
                  </a:moveTo>
                  <a:cubicBezTo>
                    <a:pt x="93686" y="33499"/>
                    <a:pt x="92227" y="35016"/>
                    <a:pt x="92104" y="37648"/>
                  </a:cubicBezTo>
                  <a:cubicBezTo>
                    <a:pt x="92310" y="40132"/>
                    <a:pt x="93788" y="41570"/>
                    <a:pt x="96129" y="41570"/>
                  </a:cubicBezTo>
                  <a:cubicBezTo>
                    <a:pt x="98635" y="41570"/>
                    <a:pt x="100278" y="40091"/>
                    <a:pt x="100237" y="37422"/>
                  </a:cubicBezTo>
                  <a:cubicBezTo>
                    <a:pt x="100175" y="34937"/>
                    <a:pt x="98594" y="33520"/>
                    <a:pt x="96253" y="33499"/>
                  </a:cubicBezTo>
                  <a:cubicBezTo>
                    <a:pt x="96236" y="33499"/>
                    <a:pt x="96219" y="33499"/>
                    <a:pt x="96202" y="33499"/>
                  </a:cubicBezTo>
                  <a:close/>
                  <a:moveTo>
                    <a:pt x="4260" y="33499"/>
                  </a:moveTo>
                  <a:cubicBezTo>
                    <a:pt x="1744" y="33499"/>
                    <a:pt x="145" y="34955"/>
                    <a:pt x="165" y="37607"/>
                  </a:cubicBezTo>
                  <a:cubicBezTo>
                    <a:pt x="186" y="40091"/>
                    <a:pt x="1767" y="41529"/>
                    <a:pt x="4108" y="41570"/>
                  </a:cubicBezTo>
                  <a:cubicBezTo>
                    <a:pt x="4142" y="41571"/>
                    <a:pt x="4175" y="41571"/>
                    <a:pt x="4209" y="41571"/>
                  </a:cubicBezTo>
                  <a:cubicBezTo>
                    <a:pt x="6674" y="41571"/>
                    <a:pt x="8155" y="40077"/>
                    <a:pt x="8297" y="37483"/>
                  </a:cubicBezTo>
                  <a:cubicBezTo>
                    <a:pt x="8092" y="34998"/>
                    <a:pt x="6695" y="33540"/>
                    <a:pt x="4313" y="33499"/>
                  </a:cubicBezTo>
                  <a:cubicBezTo>
                    <a:pt x="4296" y="33499"/>
                    <a:pt x="4278" y="33499"/>
                    <a:pt x="4260" y="33499"/>
                  </a:cubicBezTo>
                  <a:close/>
                  <a:moveTo>
                    <a:pt x="65452" y="33513"/>
                  </a:moveTo>
                  <a:cubicBezTo>
                    <a:pt x="63009" y="33513"/>
                    <a:pt x="61485" y="35051"/>
                    <a:pt x="61465" y="37483"/>
                  </a:cubicBezTo>
                  <a:cubicBezTo>
                    <a:pt x="61424" y="40002"/>
                    <a:pt x="63005" y="41572"/>
                    <a:pt x="65509" y="41572"/>
                  </a:cubicBezTo>
                  <a:cubicBezTo>
                    <a:pt x="65557" y="41572"/>
                    <a:pt x="65605" y="41571"/>
                    <a:pt x="65654" y="41570"/>
                  </a:cubicBezTo>
                  <a:cubicBezTo>
                    <a:pt x="68016" y="41508"/>
                    <a:pt x="69433" y="40071"/>
                    <a:pt x="69556" y="37565"/>
                  </a:cubicBezTo>
                  <a:cubicBezTo>
                    <a:pt x="69474" y="35101"/>
                    <a:pt x="68139" y="33643"/>
                    <a:pt x="65736" y="33520"/>
                  </a:cubicBezTo>
                  <a:cubicBezTo>
                    <a:pt x="65640" y="33515"/>
                    <a:pt x="65545" y="33513"/>
                    <a:pt x="65452" y="33513"/>
                  </a:cubicBezTo>
                  <a:close/>
                  <a:moveTo>
                    <a:pt x="4190" y="66994"/>
                  </a:moveTo>
                  <a:cubicBezTo>
                    <a:pt x="1767" y="66994"/>
                    <a:pt x="247" y="68452"/>
                    <a:pt x="186" y="70854"/>
                  </a:cubicBezTo>
                  <a:cubicBezTo>
                    <a:pt x="103" y="73463"/>
                    <a:pt x="1623" y="75023"/>
                    <a:pt x="4231" y="75044"/>
                  </a:cubicBezTo>
                  <a:cubicBezTo>
                    <a:pt x="4247" y="75044"/>
                    <a:pt x="4264" y="75044"/>
                    <a:pt x="4280" y="75044"/>
                  </a:cubicBezTo>
                  <a:cubicBezTo>
                    <a:pt x="6692" y="75044"/>
                    <a:pt x="7951" y="73529"/>
                    <a:pt x="8318" y="71204"/>
                  </a:cubicBezTo>
                  <a:cubicBezTo>
                    <a:pt x="8112" y="68616"/>
                    <a:pt x="6819" y="66994"/>
                    <a:pt x="4190" y="66994"/>
                  </a:cubicBezTo>
                  <a:close/>
                  <a:moveTo>
                    <a:pt x="34918" y="66969"/>
                  </a:moveTo>
                  <a:cubicBezTo>
                    <a:pt x="34841" y="66969"/>
                    <a:pt x="34764" y="66970"/>
                    <a:pt x="34686" y="66973"/>
                  </a:cubicBezTo>
                  <a:cubicBezTo>
                    <a:pt x="32222" y="67076"/>
                    <a:pt x="30989" y="68595"/>
                    <a:pt x="30825" y="71019"/>
                  </a:cubicBezTo>
                  <a:cubicBezTo>
                    <a:pt x="31010" y="73442"/>
                    <a:pt x="32242" y="74941"/>
                    <a:pt x="34706" y="75044"/>
                  </a:cubicBezTo>
                  <a:cubicBezTo>
                    <a:pt x="34799" y="75048"/>
                    <a:pt x="34890" y="75050"/>
                    <a:pt x="34980" y="75050"/>
                  </a:cubicBezTo>
                  <a:cubicBezTo>
                    <a:pt x="37501" y="75050"/>
                    <a:pt x="38937" y="73398"/>
                    <a:pt x="38937" y="71019"/>
                  </a:cubicBezTo>
                  <a:cubicBezTo>
                    <a:pt x="38937" y="68607"/>
                    <a:pt x="37447" y="66969"/>
                    <a:pt x="34918" y="66969"/>
                  </a:cubicBezTo>
                  <a:close/>
                  <a:moveTo>
                    <a:pt x="96017" y="66987"/>
                  </a:moveTo>
                  <a:cubicBezTo>
                    <a:pt x="93750" y="66987"/>
                    <a:pt x="92519" y="68455"/>
                    <a:pt x="92104" y="70608"/>
                  </a:cubicBezTo>
                  <a:cubicBezTo>
                    <a:pt x="92145" y="73134"/>
                    <a:pt x="93295" y="74756"/>
                    <a:pt x="95698" y="75023"/>
                  </a:cubicBezTo>
                  <a:cubicBezTo>
                    <a:pt x="95910" y="75045"/>
                    <a:pt x="96115" y="75056"/>
                    <a:pt x="96315" y="75056"/>
                  </a:cubicBezTo>
                  <a:cubicBezTo>
                    <a:pt x="98570" y="75056"/>
                    <a:pt x="100007" y="73684"/>
                    <a:pt x="100195" y="71306"/>
                  </a:cubicBezTo>
                  <a:cubicBezTo>
                    <a:pt x="100401" y="68719"/>
                    <a:pt x="98902" y="67117"/>
                    <a:pt x="96294" y="66994"/>
                  </a:cubicBezTo>
                  <a:cubicBezTo>
                    <a:pt x="96200" y="66989"/>
                    <a:pt x="96108" y="66987"/>
                    <a:pt x="96017" y="66987"/>
                  </a:cubicBezTo>
                  <a:close/>
                  <a:moveTo>
                    <a:pt x="65436" y="66972"/>
                  </a:moveTo>
                  <a:cubicBezTo>
                    <a:pt x="62989" y="66972"/>
                    <a:pt x="61566" y="68543"/>
                    <a:pt x="61465" y="70834"/>
                  </a:cubicBezTo>
                  <a:cubicBezTo>
                    <a:pt x="61362" y="73360"/>
                    <a:pt x="62882" y="74859"/>
                    <a:pt x="65510" y="75126"/>
                  </a:cubicBezTo>
                  <a:cubicBezTo>
                    <a:pt x="67913" y="74879"/>
                    <a:pt x="69453" y="73688"/>
                    <a:pt x="69515" y="71204"/>
                  </a:cubicBezTo>
                  <a:cubicBezTo>
                    <a:pt x="69576" y="68575"/>
                    <a:pt x="68159" y="67035"/>
                    <a:pt x="65531" y="66973"/>
                  </a:cubicBezTo>
                  <a:cubicBezTo>
                    <a:pt x="65499" y="66973"/>
                    <a:pt x="65467" y="66972"/>
                    <a:pt x="65436" y="66972"/>
                  </a:cubicBezTo>
                  <a:close/>
                  <a:moveTo>
                    <a:pt x="4181" y="100486"/>
                  </a:moveTo>
                  <a:cubicBezTo>
                    <a:pt x="1742" y="100486"/>
                    <a:pt x="165" y="101939"/>
                    <a:pt x="165" y="104554"/>
                  </a:cubicBezTo>
                  <a:cubicBezTo>
                    <a:pt x="165" y="107039"/>
                    <a:pt x="1726" y="108476"/>
                    <a:pt x="4087" y="108518"/>
                  </a:cubicBezTo>
                  <a:cubicBezTo>
                    <a:pt x="4138" y="108519"/>
                    <a:pt x="4189" y="108519"/>
                    <a:pt x="4239" y="108519"/>
                  </a:cubicBezTo>
                  <a:cubicBezTo>
                    <a:pt x="6693" y="108519"/>
                    <a:pt x="8136" y="107048"/>
                    <a:pt x="8297" y="104492"/>
                  </a:cubicBezTo>
                  <a:cubicBezTo>
                    <a:pt x="8112" y="101967"/>
                    <a:pt x="6695" y="100529"/>
                    <a:pt x="4334" y="100488"/>
                  </a:cubicBezTo>
                  <a:cubicBezTo>
                    <a:pt x="4282" y="100487"/>
                    <a:pt x="4232" y="100486"/>
                    <a:pt x="4181" y="100486"/>
                  </a:cubicBezTo>
                  <a:close/>
                  <a:moveTo>
                    <a:pt x="34865" y="100467"/>
                  </a:moveTo>
                  <a:cubicBezTo>
                    <a:pt x="34833" y="100467"/>
                    <a:pt x="34800" y="100467"/>
                    <a:pt x="34768" y="100467"/>
                  </a:cubicBezTo>
                  <a:cubicBezTo>
                    <a:pt x="32406" y="100529"/>
                    <a:pt x="30969" y="101925"/>
                    <a:pt x="30846" y="104492"/>
                  </a:cubicBezTo>
                  <a:cubicBezTo>
                    <a:pt x="30927" y="107082"/>
                    <a:pt x="32426" y="108538"/>
                    <a:pt x="34941" y="108538"/>
                  </a:cubicBezTo>
                  <a:cubicBezTo>
                    <a:pt x="34959" y="108538"/>
                    <a:pt x="34976" y="108538"/>
                    <a:pt x="34994" y="108538"/>
                  </a:cubicBezTo>
                  <a:cubicBezTo>
                    <a:pt x="37376" y="108518"/>
                    <a:pt x="38916" y="106957"/>
                    <a:pt x="38937" y="104575"/>
                  </a:cubicBezTo>
                  <a:cubicBezTo>
                    <a:pt x="38957" y="102060"/>
                    <a:pt x="37395" y="100467"/>
                    <a:pt x="34865" y="100467"/>
                  </a:cubicBezTo>
                  <a:close/>
                  <a:moveTo>
                    <a:pt x="96170" y="100385"/>
                  </a:moveTo>
                  <a:cubicBezTo>
                    <a:pt x="93870" y="100714"/>
                    <a:pt x="92228" y="101782"/>
                    <a:pt x="92145" y="104308"/>
                  </a:cubicBezTo>
                  <a:cubicBezTo>
                    <a:pt x="92063" y="106998"/>
                    <a:pt x="93645" y="108497"/>
                    <a:pt x="96170" y="108538"/>
                  </a:cubicBezTo>
                  <a:cubicBezTo>
                    <a:pt x="96204" y="108539"/>
                    <a:pt x="96237" y="108539"/>
                    <a:pt x="96271" y="108539"/>
                  </a:cubicBezTo>
                  <a:cubicBezTo>
                    <a:pt x="98558" y="108539"/>
                    <a:pt x="100135" y="107147"/>
                    <a:pt x="100216" y="104698"/>
                  </a:cubicBezTo>
                  <a:cubicBezTo>
                    <a:pt x="100319" y="102028"/>
                    <a:pt x="98717" y="100734"/>
                    <a:pt x="96170" y="100406"/>
                  </a:cubicBezTo>
                  <a:lnTo>
                    <a:pt x="96170" y="100385"/>
                  </a:lnTo>
                  <a:close/>
                  <a:moveTo>
                    <a:pt x="65415" y="100479"/>
                  </a:moveTo>
                  <a:cubicBezTo>
                    <a:pt x="63013" y="100479"/>
                    <a:pt x="61504" y="102032"/>
                    <a:pt x="61465" y="104451"/>
                  </a:cubicBezTo>
                  <a:cubicBezTo>
                    <a:pt x="61445" y="106951"/>
                    <a:pt x="63007" y="108540"/>
                    <a:pt x="65511" y="108540"/>
                  </a:cubicBezTo>
                  <a:cubicBezTo>
                    <a:pt x="65558" y="108540"/>
                    <a:pt x="65606" y="108539"/>
                    <a:pt x="65654" y="108538"/>
                  </a:cubicBezTo>
                  <a:cubicBezTo>
                    <a:pt x="68016" y="108456"/>
                    <a:pt x="69433" y="107060"/>
                    <a:pt x="69556" y="104554"/>
                  </a:cubicBezTo>
                  <a:cubicBezTo>
                    <a:pt x="69494" y="102069"/>
                    <a:pt x="68118" y="100611"/>
                    <a:pt x="65736" y="100488"/>
                  </a:cubicBezTo>
                  <a:cubicBezTo>
                    <a:pt x="65627" y="100482"/>
                    <a:pt x="65520" y="100479"/>
                    <a:pt x="65415" y="100479"/>
                  </a:cubicBezTo>
                  <a:close/>
                  <a:moveTo>
                    <a:pt x="4071" y="133950"/>
                  </a:moveTo>
                  <a:cubicBezTo>
                    <a:pt x="1829" y="133950"/>
                    <a:pt x="376" y="135322"/>
                    <a:pt x="206" y="137699"/>
                  </a:cubicBezTo>
                  <a:cubicBezTo>
                    <a:pt x="1" y="140287"/>
                    <a:pt x="1500" y="141889"/>
                    <a:pt x="4108" y="142012"/>
                  </a:cubicBezTo>
                  <a:cubicBezTo>
                    <a:pt x="4202" y="142017"/>
                    <a:pt x="4294" y="142019"/>
                    <a:pt x="4384" y="142019"/>
                  </a:cubicBezTo>
                  <a:cubicBezTo>
                    <a:pt x="6651" y="142019"/>
                    <a:pt x="7883" y="140550"/>
                    <a:pt x="8297" y="138398"/>
                  </a:cubicBezTo>
                  <a:cubicBezTo>
                    <a:pt x="8256" y="135872"/>
                    <a:pt x="7086" y="134249"/>
                    <a:pt x="4683" y="133982"/>
                  </a:cubicBezTo>
                  <a:cubicBezTo>
                    <a:pt x="4473" y="133961"/>
                    <a:pt x="4269" y="133950"/>
                    <a:pt x="4071" y="133950"/>
                  </a:cubicBezTo>
                  <a:close/>
                  <a:moveTo>
                    <a:pt x="65551" y="133962"/>
                  </a:moveTo>
                  <a:cubicBezTo>
                    <a:pt x="62861" y="133962"/>
                    <a:pt x="61403" y="135646"/>
                    <a:pt x="61465" y="138131"/>
                  </a:cubicBezTo>
                  <a:cubicBezTo>
                    <a:pt x="61526" y="140451"/>
                    <a:pt x="63005" y="142032"/>
                    <a:pt x="65490" y="142032"/>
                  </a:cubicBezTo>
                  <a:cubicBezTo>
                    <a:pt x="68134" y="142012"/>
                    <a:pt x="69428" y="140436"/>
                    <a:pt x="69576" y="137857"/>
                  </a:cubicBezTo>
                  <a:lnTo>
                    <a:pt x="69576" y="137857"/>
                  </a:lnTo>
                  <a:cubicBezTo>
                    <a:pt x="69576" y="137859"/>
                    <a:pt x="69576" y="137861"/>
                    <a:pt x="69576" y="137864"/>
                  </a:cubicBezTo>
                  <a:lnTo>
                    <a:pt x="69576" y="137843"/>
                  </a:lnTo>
                  <a:cubicBezTo>
                    <a:pt x="69576" y="137848"/>
                    <a:pt x="69576" y="137852"/>
                    <a:pt x="69576" y="137857"/>
                  </a:cubicBezTo>
                  <a:lnTo>
                    <a:pt x="69576" y="137857"/>
                  </a:lnTo>
                  <a:cubicBezTo>
                    <a:pt x="69307" y="135417"/>
                    <a:pt x="68013" y="133962"/>
                    <a:pt x="65551" y="133962"/>
                  </a:cubicBezTo>
                  <a:close/>
                  <a:moveTo>
                    <a:pt x="34665" y="133880"/>
                  </a:moveTo>
                  <a:cubicBezTo>
                    <a:pt x="32181" y="134249"/>
                    <a:pt x="30722" y="135646"/>
                    <a:pt x="30887" y="138295"/>
                  </a:cubicBezTo>
                  <a:cubicBezTo>
                    <a:pt x="31049" y="140722"/>
                    <a:pt x="32525" y="142033"/>
                    <a:pt x="34904" y="142033"/>
                  </a:cubicBezTo>
                  <a:cubicBezTo>
                    <a:pt x="34941" y="142033"/>
                    <a:pt x="34977" y="142033"/>
                    <a:pt x="35014" y="142032"/>
                  </a:cubicBezTo>
                  <a:cubicBezTo>
                    <a:pt x="37499" y="141971"/>
                    <a:pt x="38937" y="140348"/>
                    <a:pt x="38937" y="138048"/>
                  </a:cubicBezTo>
                  <a:cubicBezTo>
                    <a:pt x="38957" y="135522"/>
                    <a:pt x="37397" y="134023"/>
                    <a:pt x="34665" y="133880"/>
                  </a:cubicBezTo>
                  <a:close/>
                  <a:moveTo>
                    <a:pt x="96294" y="133975"/>
                  </a:moveTo>
                  <a:cubicBezTo>
                    <a:pt x="96199" y="133975"/>
                    <a:pt x="96103" y="133978"/>
                    <a:pt x="96006" y="133982"/>
                  </a:cubicBezTo>
                  <a:cubicBezTo>
                    <a:pt x="93398" y="134085"/>
                    <a:pt x="91981" y="135728"/>
                    <a:pt x="92186" y="138336"/>
                  </a:cubicBezTo>
                  <a:cubicBezTo>
                    <a:pt x="92351" y="140780"/>
                    <a:pt x="93973" y="141930"/>
                    <a:pt x="96396" y="142094"/>
                  </a:cubicBezTo>
                  <a:cubicBezTo>
                    <a:pt x="98717" y="141704"/>
                    <a:pt x="100257" y="140431"/>
                    <a:pt x="100216" y="137987"/>
                  </a:cubicBezTo>
                  <a:cubicBezTo>
                    <a:pt x="100176" y="135496"/>
                    <a:pt x="98729" y="133975"/>
                    <a:pt x="96294" y="133975"/>
                  </a:cubicBezTo>
                  <a:close/>
                  <a:moveTo>
                    <a:pt x="96073" y="167435"/>
                  </a:moveTo>
                  <a:cubicBezTo>
                    <a:pt x="93808" y="167435"/>
                    <a:pt x="92347" y="168846"/>
                    <a:pt x="92104" y="171276"/>
                  </a:cubicBezTo>
                  <a:cubicBezTo>
                    <a:pt x="92166" y="173740"/>
                    <a:pt x="93419" y="175301"/>
                    <a:pt x="95821" y="175465"/>
                  </a:cubicBezTo>
                  <a:cubicBezTo>
                    <a:pt x="95977" y="175476"/>
                    <a:pt x="96130" y="175482"/>
                    <a:pt x="96279" y="175482"/>
                  </a:cubicBezTo>
                  <a:cubicBezTo>
                    <a:pt x="98606" y="175482"/>
                    <a:pt x="100100" y="174135"/>
                    <a:pt x="100216" y="171645"/>
                  </a:cubicBezTo>
                  <a:cubicBezTo>
                    <a:pt x="100339" y="168976"/>
                    <a:pt x="98696" y="167456"/>
                    <a:pt x="96170" y="167436"/>
                  </a:cubicBezTo>
                  <a:cubicBezTo>
                    <a:pt x="96138" y="167435"/>
                    <a:pt x="96105" y="167435"/>
                    <a:pt x="96073" y="167435"/>
                  </a:cubicBezTo>
                  <a:close/>
                  <a:moveTo>
                    <a:pt x="4209" y="167435"/>
                  </a:moveTo>
                  <a:cubicBezTo>
                    <a:pt x="4175" y="167435"/>
                    <a:pt x="4142" y="167435"/>
                    <a:pt x="4108" y="167436"/>
                  </a:cubicBezTo>
                  <a:cubicBezTo>
                    <a:pt x="1767" y="167477"/>
                    <a:pt x="186" y="168914"/>
                    <a:pt x="165" y="171399"/>
                  </a:cubicBezTo>
                  <a:cubicBezTo>
                    <a:pt x="145" y="174032"/>
                    <a:pt x="1723" y="175487"/>
                    <a:pt x="4209" y="175487"/>
                  </a:cubicBezTo>
                  <a:cubicBezTo>
                    <a:pt x="4244" y="175487"/>
                    <a:pt x="4278" y="175486"/>
                    <a:pt x="4313" y="175486"/>
                  </a:cubicBezTo>
                  <a:cubicBezTo>
                    <a:pt x="6695" y="175465"/>
                    <a:pt x="8092" y="174007"/>
                    <a:pt x="8297" y="171522"/>
                  </a:cubicBezTo>
                  <a:cubicBezTo>
                    <a:pt x="8155" y="168929"/>
                    <a:pt x="6674" y="167435"/>
                    <a:pt x="4209" y="167435"/>
                  </a:cubicBezTo>
                  <a:close/>
                  <a:moveTo>
                    <a:pt x="65457" y="167429"/>
                  </a:moveTo>
                  <a:cubicBezTo>
                    <a:pt x="63030" y="167429"/>
                    <a:pt x="61485" y="168986"/>
                    <a:pt x="61465" y="171440"/>
                  </a:cubicBezTo>
                  <a:cubicBezTo>
                    <a:pt x="61445" y="173923"/>
                    <a:pt x="62967" y="175489"/>
                    <a:pt x="65462" y="175489"/>
                  </a:cubicBezTo>
                  <a:cubicBezTo>
                    <a:pt x="65525" y="175489"/>
                    <a:pt x="65589" y="175488"/>
                    <a:pt x="65654" y="175486"/>
                  </a:cubicBezTo>
                  <a:cubicBezTo>
                    <a:pt x="68036" y="175424"/>
                    <a:pt x="69433" y="174007"/>
                    <a:pt x="69535" y="171543"/>
                  </a:cubicBezTo>
                  <a:cubicBezTo>
                    <a:pt x="69494" y="169017"/>
                    <a:pt x="68098" y="167559"/>
                    <a:pt x="65736" y="167436"/>
                  </a:cubicBezTo>
                  <a:cubicBezTo>
                    <a:pt x="65642" y="167431"/>
                    <a:pt x="65549" y="167429"/>
                    <a:pt x="65457" y="167429"/>
                  </a:cubicBezTo>
                  <a:close/>
                  <a:moveTo>
                    <a:pt x="34884" y="167435"/>
                  </a:moveTo>
                  <a:cubicBezTo>
                    <a:pt x="34852" y="167435"/>
                    <a:pt x="34821" y="167435"/>
                    <a:pt x="34789" y="167436"/>
                  </a:cubicBezTo>
                  <a:cubicBezTo>
                    <a:pt x="32427" y="167477"/>
                    <a:pt x="30989" y="168894"/>
                    <a:pt x="30846" y="171543"/>
                  </a:cubicBezTo>
                  <a:cubicBezTo>
                    <a:pt x="30907" y="173843"/>
                    <a:pt x="32201" y="175342"/>
                    <a:pt x="34604" y="175486"/>
                  </a:cubicBezTo>
                  <a:cubicBezTo>
                    <a:pt x="34717" y="175492"/>
                    <a:pt x="34829" y="175495"/>
                    <a:pt x="34939" y="175495"/>
                  </a:cubicBezTo>
                  <a:cubicBezTo>
                    <a:pt x="37354" y="175495"/>
                    <a:pt x="38878" y="173999"/>
                    <a:pt x="38937" y="171563"/>
                  </a:cubicBezTo>
                  <a:cubicBezTo>
                    <a:pt x="38998" y="169048"/>
                    <a:pt x="37416" y="167435"/>
                    <a:pt x="34884" y="167435"/>
                  </a:cubicBezTo>
                  <a:close/>
                  <a:moveTo>
                    <a:pt x="96115" y="200929"/>
                  </a:moveTo>
                  <a:cubicBezTo>
                    <a:pt x="93714" y="200929"/>
                    <a:pt x="92469" y="202439"/>
                    <a:pt x="92084" y="204729"/>
                  </a:cubicBezTo>
                  <a:cubicBezTo>
                    <a:pt x="92269" y="207317"/>
                    <a:pt x="93542" y="208959"/>
                    <a:pt x="96170" y="208980"/>
                  </a:cubicBezTo>
                  <a:cubicBezTo>
                    <a:pt x="96204" y="208981"/>
                    <a:pt x="96237" y="208981"/>
                    <a:pt x="96270" y="208981"/>
                  </a:cubicBezTo>
                  <a:cubicBezTo>
                    <a:pt x="98635" y="208981"/>
                    <a:pt x="100115" y="207530"/>
                    <a:pt x="100216" y="205160"/>
                  </a:cubicBezTo>
                  <a:cubicBezTo>
                    <a:pt x="100298" y="202552"/>
                    <a:pt x="98820" y="200991"/>
                    <a:pt x="96212" y="200930"/>
                  </a:cubicBezTo>
                  <a:cubicBezTo>
                    <a:pt x="96179" y="200929"/>
                    <a:pt x="96147" y="200929"/>
                    <a:pt x="96115" y="200929"/>
                  </a:cubicBezTo>
                  <a:close/>
                  <a:moveTo>
                    <a:pt x="4092" y="200923"/>
                  </a:moveTo>
                  <a:cubicBezTo>
                    <a:pt x="1811" y="200923"/>
                    <a:pt x="358" y="202315"/>
                    <a:pt x="206" y="204708"/>
                  </a:cubicBezTo>
                  <a:cubicBezTo>
                    <a:pt x="21" y="207296"/>
                    <a:pt x="1541" y="208898"/>
                    <a:pt x="4128" y="208980"/>
                  </a:cubicBezTo>
                  <a:cubicBezTo>
                    <a:pt x="4207" y="208983"/>
                    <a:pt x="4285" y="208985"/>
                    <a:pt x="4362" y="208985"/>
                  </a:cubicBezTo>
                  <a:cubicBezTo>
                    <a:pt x="6656" y="208985"/>
                    <a:pt x="7900" y="207505"/>
                    <a:pt x="8318" y="205160"/>
                  </a:cubicBezTo>
                  <a:cubicBezTo>
                    <a:pt x="8195" y="202840"/>
                    <a:pt x="7086" y="201197"/>
                    <a:pt x="4662" y="200950"/>
                  </a:cubicBezTo>
                  <a:cubicBezTo>
                    <a:pt x="4467" y="200932"/>
                    <a:pt x="4277" y="200923"/>
                    <a:pt x="4092" y="200923"/>
                  </a:cubicBezTo>
                  <a:close/>
                  <a:moveTo>
                    <a:pt x="34885" y="200929"/>
                  </a:moveTo>
                  <a:cubicBezTo>
                    <a:pt x="34853" y="200929"/>
                    <a:pt x="34821" y="200929"/>
                    <a:pt x="34789" y="200930"/>
                  </a:cubicBezTo>
                  <a:cubicBezTo>
                    <a:pt x="32324" y="200971"/>
                    <a:pt x="31072" y="202450"/>
                    <a:pt x="30825" y="204873"/>
                  </a:cubicBezTo>
                  <a:cubicBezTo>
                    <a:pt x="30988" y="207444"/>
                    <a:pt x="32307" y="209001"/>
                    <a:pt x="34902" y="209001"/>
                  </a:cubicBezTo>
                  <a:cubicBezTo>
                    <a:pt x="34919" y="209001"/>
                    <a:pt x="34936" y="209001"/>
                    <a:pt x="34953" y="209001"/>
                  </a:cubicBezTo>
                  <a:cubicBezTo>
                    <a:pt x="37438" y="209001"/>
                    <a:pt x="38916" y="207378"/>
                    <a:pt x="38937" y="205058"/>
                  </a:cubicBezTo>
                  <a:cubicBezTo>
                    <a:pt x="38957" y="202602"/>
                    <a:pt x="37534" y="200929"/>
                    <a:pt x="34885" y="200929"/>
                  </a:cubicBezTo>
                  <a:close/>
                  <a:moveTo>
                    <a:pt x="65777" y="200868"/>
                  </a:moveTo>
                  <a:cubicBezTo>
                    <a:pt x="63025" y="200971"/>
                    <a:pt x="61465" y="202470"/>
                    <a:pt x="61444" y="204975"/>
                  </a:cubicBezTo>
                  <a:cubicBezTo>
                    <a:pt x="61424" y="207296"/>
                    <a:pt x="62861" y="208918"/>
                    <a:pt x="65346" y="209001"/>
                  </a:cubicBezTo>
                  <a:cubicBezTo>
                    <a:pt x="65419" y="209003"/>
                    <a:pt x="65490" y="209004"/>
                    <a:pt x="65561" y="209004"/>
                  </a:cubicBezTo>
                  <a:cubicBezTo>
                    <a:pt x="67860" y="209004"/>
                    <a:pt x="69315" y="207715"/>
                    <a:pt x="69494" y="205304"/>
                  </a:cubicBezTo>
                  <a:cubicBezTo>
                    <a:pt x="69700" y="202675"/>
                    <a:pt x="68262" y="201238"/>
                    <a:pt x="65777" y="200868"/>
                  </a:cubicBezTo>
                  <a:close/>
                </a:path>
              </a:pathLst>
            </a:custGeom>
            <a:gradFill>
              <a:gsLst>
                <a:gs pos="0">
                  <a:srgbClr val="FAFAFA"/>
                </a:gs>
                <a:gs pos="100000">
                  <a:srgbClr val="B9B9B9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5;p2"/>
            <p:cNvSpPr/>
            <p:nvPr/>
          </p:nvSpPr>
          <p:spPr>
            <a:xfrm>
              <a:off x="3315325" y="1073925"/>
              <a:ext cx="204350" cy="203325"/>
            </a:xfrm>
            <a:custGeom>
              <a:avLst/>
              <a:gdLst/>
              <a:ahLst/>
              <a:cxnLst/>
              <a:rect l="l" t="t" r="r" b="b"/>
              <a:pathLst>
                <a:path w="8174" h="8133" extrusionOk="0">
                  <a:moveTo>
                    <a:pt x="4025" y="1"/>
                  </a:moveTo>
                  <a:cubicBezTo>
                    <a:pt x="1643" y="309"/>
                    <a:pt x="103" y="1459"/>
                    <a:pt x="41" y="3985"/>
                  </a:cubicBezTo>
                  <a:cubicBezTo>
                    <a:pt x="0" y="6675"/>
                    <a:pt x="1581" y="8133"/>
                    <a:pt x="4107" y="8133"/>
                  </a:cubicBezTo>
                  <a:cubicBezTo>
                    <a:pt x="6510" y="8133"/>
                    <a:pt x="8071" y="6593"/>
                    <a:pt x="8112" y="4211"/>
                  </a:cubicBezTo>
                  <a:cubicBezTo>
                    <a:pt x="8173" y="1664"/>
                    <a:pt x="6572" y="247"/>
                    <a:pt x="402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16;p2"/>
            <p:cNvSpPr/>
            <p:nvPr/>
          </p:nvSpPr>
          <p:spPr>
            <a:xfrm>
              <a:off x="4080300" y="1075800"/>
              <a:ext cx="203300" cy="201500"/>
            </a:xfrm>
            <a:custGeom>
              <a:avLst/>
              <a:gdLst/>
              <a:ahLst/>
              <a:cxnLst/>
              <a:rect l="l" t="t" r="r" b="b"/>
              <a:pathLst>
                <a:path w="8132" h="8060" extrusionOk="0">
                  <a:moveTo>
                    <a:pt x="4024" y="1"/>
                  </a:moveTo>
                  <a:cubicBezTo>
                    <a:pt x="1584" y="1"/>
                    <a:pt x="61" y="1520"/>
                    <a:pt x="41" y="3971"/>
                  </a:cubicBezTo>
                  <a:cubicBezTo>
                    <a:pt x="0" y="6490"/>
                    <a:pt x="1581" y="8060"/>
                    <a:pt x="4085" y="8060"/>
                  </a:cubicBezTo>
                  <a:cubicBezTo>
                    <a:pt x="4133" y="8060"/>
                    <a:pt x="4181" y="8059"/>
                    <a:pt x="4230" y="8058"/>
                  </a:cubicBezTo>
                  <a:cubicBezTo>
                    <a:pt x="6592" y="7976"/>
                    <a:pt x="8009" y="6559"/>
                    <a:pt x="8132" y="4053"/>
                  </a:cubicBezTo>
                  <a:cubicBezTo>
                    <a:pt x="8050" y="1569"/>
                    <a:pt x="6715" y="131"/>
                    <a:pt x="4312" y="8"/>
                  </a:cubicBezTo>
                  <a:cubicBezTo>
                    <a:pt x="4215" y="3"/>
                    <a:pt x="4119" y="1"/>
                    <a:pt x="402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7;p2"/>
            <p:cNvSpPr/>
            <p:nvPr/>
          </p:nvSpPr>
          <p:spPr>
            <a:xfrm>
              <a:off x="3315825" y="2750150"/>
              <a:ext cx="202800" cy="201325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8;p2"/>
            <p:cNvSpPr/>
            <p:nvPr/>
          </p:nvSpPr>
          <p:spPr>
            <a:xfrm>
              <a:off x="4080300" y="2749950"/>
              <a:ext cx="202800" cy="201075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3315825" y="4423850"/>
              <a:ext cx="203825" cy="201550"/>
            </a:xfrm>
            <a:custGeom>
              <a:avLst/>
              <a:gdLst/>
              <a:ahLst/>
              <a:cxnLst/>
              <a:rect l="l" t="t" r="r" b="b"/>
              <a:pathLst>
                <a:path w="8153" h="8062" extrusionOk="0">
                  <a:moveTo>
                    <a:pt x="4039" y="1"/>
                  </a:moveTo>
                  <a:cubicBezTo>
                    <a:pt x="4007" y="1"/>
                    <a:pt x="3976" y="1"/>
                    <a:pt x="3944" y="2"/>
                  </a:cubicBezTo>
                  <a:cubicBezTo>
                    <a:pt x="1582" y="43"/>
                    <a:pt x="144" y="1460"/>
                    <a:pt x="1" y="4109"/>
                  </a:cubicBezTo>
                  <a:cubicBezTo>
                    <a:pt x="62" y="6409"/>
                    <a:pt x="1356" y="7908"/>
                    <a:pt x="3759" y="8052"/>
                  </a:cubicBezTo>
                  <a:cubicBezTo>
                    <a:pt x="3872" y="8058"/>
                    <a:pt x="3984" y="8061"/>
                    <a:pt x="4094" y="8061"/>
                  </a:cubicBezTo>
                  <a:cubicBezTo>
                    <a:pt x="6509" y="8061"/>
                    <a:pt x="8033" y="6565"/>
                    <a:pt x="8092" y="4129"/>
                  </a:cubicBezTo>
                  <a:cubicBezTo>
                    <a:pt x="8153" y="1614"/>
                    <a:pt x="6571" y="1"/>
                    <a:pt x="403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4080800" y="4423700"/>
              <a:ext cx="202800" cy="201525"/>
            </a:xfrm>
            <a:custGeom>
              <a:avLst/>
              <a:gdLst/>
              <a:ahLst/>
              <a:cxnLst/>
              <a:rect l="l" t="t" r="r" b="b"/>
              <a:pathLst>
                <a:path w="8112" h="8061" extrusionOk="0">
                  <a:moveTo>
                    <a:pt x="4013" y="1"/>
                  </a:moveTo>
                  <a:cubicBezTo>
                    <a:pt x="1586" y="1"/>
                    <a:pt x="41" y="1558"/>
                    <a:pt x="21" y="4012"/>
                  </a:cubicBezTo>
                  <a:cubicBezTo>
                    <a:pt x="1" y="6495"/>
                    <a:pt x="1543" y="8061"/>
                    <a:pt x="4019" y="8061"/>
                  </a:cubicBezTo>
                  <a:cubicBezTo>
                    <a:pt x="4082" y="8061"/>
                    <a:pt x="4146" y="8060"/>
                    <a:pt x="4210" y="8058"/>
                  </a:cubicBezTo>
                  <a:cubicBezTo>
                    <a:pt x="6592" y="7996"/>
                    <a:pt x="7989" y="6579"/>
                    <a:pt x="8091" y="4115"/>
                  </a:cubicBezTo>
                  <a:lnTo>
                    <a:pt x="8112" y="4115"/>
                  </a:lnTo>
                  <a:cubicBezTo>
                    <a:pt x="8050" y="1589"/>
                    <a:pt x="6654" y="131"/>
                    <a:pt x="4292" y="8"/>
                  </a:cubicBezTo>
                  <a:cubicBezTo>
                    <a:pt x="4198" y="3"/>
                    <a:pt x="4105" y="1"/>
                    <a:pt x="401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21;p2"/>
            <p:cNvSpPr/>
            <p:nvPr/>
          </p:nvSpPr>
          <p:spPr>
            <a:xfrm>
              <a:off x="3313275" y="238000"/>
              <a:ext cx="204850" cy="203450"/>
            </a:xfrm>
            <a:custGeom>
              <a:avLst/>
              <a:gdLst/>
              <a:ahLst/>
              <a:cxnLst/>
              <a:rect l="l" t="t" r="r" b="b"/>
              <a:pathLst>
                <a:path w="8194" h="8138" extrusionOk="0">
                  <a:moveTo>
                    <a:pt x="4252" y="1"/>
                  </a:moveTo>
                  <a:cubicBezTo>
                    <a:pt x="4177" y="1"/>
                    <a:pt x="4101" y="2"/>
                    <a:pt x="4025" y="5"/>
                  </a:cubicBezTo>
                  <a:cubicBezTo>
                    <a:pt x="1396" y="108"/>
                    <a:pt x="0" y="1709"/>
                    <a:pt x="144" y="4338"/>
                  </a:cubicBezTo>
                  <a:cubicBezTo>
                    <a:pt x="288" y="6844"/>
                    <a:pt x="1848" y="7973"/>
                    <a:pt x="4210" y="8137"/>
                  </a:cubicBezTo>
                  <a:cubicBezTo>
                    <a:pt x="6715" y="7911"/>
                    <a:pt x="8194" y="6433"/>
                    <a:pt x="8194" y="4112"/>
                  </a:cubicBezTo>
                  <a:cubicBezTo>
                    <a:pt x="8194" y="1679"/>
                    <a:pt x="6779" y="1"/>
                    <a:pt x="425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22;p2"/>
            <p:cNvSpPr/>
            <p:nvPr/>
          </p:nvSpPr>
          <p:spPr>
            <a:xfrm>
              <a:off x="4079250" y="238125"/>
              <a:ext cx="204875" cy="201775"/>
            </a:xfrm>
            <a:custGeom>
              <a:avLst/>
              <a:gdLst/>
              <a:ahLst/>
              <a:cxnLst/>
              <a:rect l="l" t="t" r="r" b="b"/>
              <a:pathLst>
                <a:path w="8195" h="8071" extrusionOk="0">
                  <a:moveTo>
                    <a:pt x="4149" y="0"/>
                  </a:moveTo>
                  <a:cubicBezTo>
                    <a:pt x="1500" y="0"/>
                    <a:pt x="1" y="1684"/>
                    <a:pt x="83" y="4210"/>
                  </a:cubicBezTo>
                  <a:cubicBezTo>
                    <a:pt x="144" y="6495"/>
                    <a:pt x="1584" y="8071"/>
                    <a:pt x="4060" y="8071"/>
                  </a:cubicBezTo>
                  <a:cubicBezTo>
                    <a:pt x="4076" y="8071"/>
                    <a:pt x="4092" y="8071"/>
                    <a:pt x="4108" y="8071"/>
                  </a:cubicBezTo>
                  <a:cubicBezTo>
                    <a:pt x="6798" y="8050"/>
                    <a:pt x="8051" y="6469"/>
                    <a:pt x="8194" y="3881"/>
                  </a:cubicBezTo>
                  <a:cubicBezTo>
                    <a:pt x="7927" y="1458"/>
                    <a:pt x="6593" y="0"/>
                    <a:pt x="414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23;p2"/>
            <p:cNvSpPr/>
            <p:nvPr/>
          </p:nvSpPr>
          <p:spPr>
            <a:xfrm>
              <a:off x="3315325" y="1912200"/>
              <a:ext cx="202800" cy="202025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4078750" y="1912300"/>
              <a:ext cx="205875" cy="203850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25;p2"/>
            <p:cNvSpPr/>
            <p:nvPr/>
          </p:nvSpPr>
          <p:spPr>
            <a:xfrm>
              <a:off x="2548825" y="2750175"/>
              <a:ext cx="203325" cy="201300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26;p2"/>
            <p:cNvSpPr/>
            <p:nvPr/>
          </p:nvSpPr>
          <p:spPr>
            <a:xfrm>
              <a:off x="4846275" y="2747625"/>
              <a:ext cx="206400" cy="203850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3312750" y="3584975"/>
              <a:ext cx="205900" cy="20387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28;p2"/>
            <p:cNvSpPr/>
            <p:nvPr/>
          </p:nvSpPr>
          <p:spPr>
            <a:xfrm>
              <a:off x="4079775" y="3587025"/>
              <a:ext cx="204350" cy="201800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29;p2"/>
            <p:cNvSpPr/>
            <p:nvPr/>
          </p:nvSpPr>
          <p:spPr>
            <a:xfrm>
              <a:off x="3315325" y="5261225"/>
              <a:ext cx="203325" cy="201800"/>
            </a:xfrm>
            <a:custGeom>
              <a:avLst/>
              <a:gdLst/>
              <a:ahLst/>
              <a:cxnLst/>
              <a:rect l="l" t="t" r="r" b="b"/>
              <a:pathLst>
                <a:path w="8133" h="8072" extrusionOk="0">
                  <a:moveTo>
                    <a:pt x="4060" y="0"/>
                  </a:moveTo>
                  <a:cubicBezTo>
                    <a:pt x="4028" y="0"/>
                    <a:pt x="3996" y="0"/>
                    <a:pt x="3964" y="1"/>
                  </a:cubicBezTo>
                  <a:cubicBezTo>
                    <a:pt x="1499" y="42"/>
                    <a:pt x="247" y="1521"/>
                    <a:pt x="0" y="3944"/>
                  </a:cubicBezTo>
                  <a:cubicBezTo>
                    <a:pt x="164" y="6531"/>
                    <a:pt x="1499" y="8072"/>
                    <a:pt x="4128" y="8072"/>
                  </a:cubicBezTo>
                  <a:cubicBezTo>
                    <a:pt x="6613" y="8051"/>
                    <a:pt x="8091" y="6449"/>
                    <a:pt x="8112" y="4129"/>
                  </a:cubicBezTo>
                  <a:cubicBezTo>
                    <a:pt x="8132" y="1673"/>
                    <a:pt x="6709" y="0"/>
                    <a:pt x="406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2"/>
            <p:cNvSpPr/>
            <p:nvPr/>
          </p:nvSpPr>
          <p:spPr>
            <a:xfrm>
              <a:off x="4080275" y="5259700"/>
              <a:ext cx="206925" cy="203425"/>
            </a:xfrm>
            <a:custGeom>
              <a:avLst/>
              <a:gdLst/>
              <a:ahLst/>
              <a:cxnLst/>
              <a:rect l="l" t="t" r="r" b="b"/>
              <a:pathLst>
                <a:path w="8277" h="8137" extrusionOk="0">
                  <a:moveTo>
                    <a:pt x="4354" y="0"/>
                  </a:moveTo>
                  <a:cubicBezTo>
                    <a:pt x="1602" y="82"/>
                    <a:pt x="42" y="1602"/>
                    <a:pt x="21" y="4107"/>
                  </a:cubicBezTo>
                  <a:cubicBezTo>
                    <a:pt x="1" y="6428"/>
                    <a:pt x="1459" y="8050"/>
                    <a:pt x="3923" y="8133"/>
                  </a:cubicBezTo>
                  <a:cubicBezTo>
                    <a:pt x="3996" y="8135"/>
                    <a:pt x="4067" y="8136"/>
                    <a:pt x="4138" y="8136"/>
                  </a:cubicBezTo>
                  <a:cubicBezTo>
                    <a:pt x="6438" y="8136"/>
                    <a:pt x="7912" y="6847"/>
                    <a:pt x="8071" y="4436"/>
                  </a:cubicBezTo>
                  <a:cubicBezTo>
                    <a:pt x="8277" y="1807"/>
                    <a:pt x="6839" y="370"/>
                    <a:pt x="4354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2"/>
            <p:cNvSpPr/>
            <p:nvPr/>
          </p:nvSpPr>
          <p:spPr>
            <a:xfrm>
              <a:off x="2548300" y="238450"/>
              <a:ext cx="206925" cy="20300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3964" y="1"/>
                  </a:moveTo>
                  <a:cubicBezTo>
                    <a:pt x="1529" y="1"/>
                    <a:pt x="81" y="1522"/>
                    <a:pt x="42" y="4033"/>
                  </a:cubicBezTo>
                  <a:cubicBezTo>
                    <a:pt x="0" y="6476"/>
                    <a:pt x="1520" y="7750"/>
                    <a:pt x="3841" y="8119"/>
                  </a:cubicBezTo>
                  <a:cubicBezTo>
                    <a:pt x="6284" y="7976"/>
                    <a:pt x="7886" y="6826"/>
                    <a:pt x="8071" y="4382"/>
                  </a:cubicBezTo>
                  <a:cubicBezTo>
                    <a:pt x="8276" y="1774"/>
                    <a:pt x="6839" y="131"/>
                    <a:pt x="4251" y="8"/>
                  </a:cubicBezTo>
                  <a:cubicBezTo>
                    <a:pt x="4154" y="3"/>
                    <a:pt x="4058" y="1"/>
                    <a:pt x="396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2"/>
            <p:cNvSpPr/>
            <p:nvPr/>
          </p:nvSpPr>
          <p:spPr>
            <a:xfrm>
              <a:off x="4846775" y="238600"/>
              <a:ext cx="205900" cy="201200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93" y="1"/>
                  </a:moveTo>
                  <a:cubicBezTo>
                    <a:pt x="1611" y="1"/>
                    <a:pt x="366" y="1531"/>
                    <a:pt x="1" y="3801"/>
                  </a:cubicBezTo>
                  <a:cubicBezTo>
                    <a:pt x="145" y="6245"/>
                    <a:pt x="1315" y="7846"/>
                    <a:pt x="3738" y="8031"/>
                  </a:cubicBezTo>
                  <a:cubicBezTo>
                    <a:pt x="3889" y="8042"/>
                    <a:pt x="4037" y="8047"/>
                    <a:pt x="4181" y="8047"/>
                  </a:cubicBezTo>
                  <a:cubicBezTo>
                    <a:pt x="6551" y="8047"/>
                    <a:pt x="8016" y="6630"/>
                    <a:pt x="8112" y="4191"/>
                  </a:cubicBezTo>
                  <a:cubicBezTo>
                    <a:pt x="8236" y="1583"/>
                    <a:pt x="6675" y="22"/>
                    <a:pt x="4087" y="2"/>
                  </a:cubicBezTo>
                  <a:cubicBezTo>
                    <a:pt x="4056" y="1"/>
                    <a:pt x="4024" y="1"/>
                    <a:pt x="399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33;p2"/>
            <p:cNvSpPr/>
            <p:nvPr/>
          </p:nvSpPr>
          <p:spPr>
            <a:xfrm>
              <a:off x="2548300" y="1075475"/>
              <a:ext cx="203850" cy="201800"/>
            </a:xfrm>
            <a:custGeom>
              <a:avLst/>
              <a:gdLst/>
              <a:ahLst/>
              <a:cxnLst/>
              <a:rect l="l" t="t" r="r" b="b"/>
              <a:pathLst>
                <a:path w="8154" h="8072" extrusionOk="0">
                  <a:moveTo>
                    <a:pt x="4116" y="0"/>
                  </a:moveTo>
                  <a:cubicBezTo>
                    <a:pt x="1600" y="0"/>
                    <a:pt x="1" y="1456"/>
                    <a:pt x="21" y="4108"/>
                  </a:cubicBezTo>
                  <a:cubicBezTo>
                    <a:pt x="42" y="6592"/>
                    <a:pt x="1623" y="8030"/>
                    <a:pt x="3964" y="8071"/>
                  </a:cubicBezTo>
                  <a:cubicBezTo>
                    <a:pt x="3998" y="8072"/>
                    <a:pt x="4031" y="8072"/>
                    <a:pt x="4065" y="8072"/>
                  </a:cubicBezTo>
                  <a:cubicBezTo>
                    <a:pt x="6530" y="8072"/>
                    <a:pt x="8011" y="6578"/>
                    <a:pt x="8153" y="3984"/>
                  </a:cubicBezTo>
                  <a:cubicBezTo>
                    <a:pt x="7948" y="1499"/>
                    <a:pt x="6551" y="41"/>
                    <a:pt x="4169" y="0"/>
                  </a:cubicBezTo>
                  <a:cubicBezTo>
                    <a:pt x="4152" y="0"/>
                    <a:pt x="4134" y="0"/>
                    <a:pt x="411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34;p2"/>
            <p:cNvSpPr/>
            <p:nvPr/>
          </p:nvSpPr>
          <p:spPr>
            <a:xfrm>
              <a:off x="4847300" y="1075475"/>
              <a:ext cx="204350" cy="201775"/>
            </a:xfrm>
            <a:custGeom>
              <a:avLst/>
              <a:gdLst/>
              <a:ahLst/>
              <a:cxnLst/>
              <a:rect l="l" t="t" r="r" b="b"/>
              <a:pathLst>
                <a:path w="8174" h="8071" extrusionOk="0">
                  <a:moveTo>
                    <a:pt x="4098" y="0"/>
                  </a:moveTo>
                  <a:cubicBezTo>
                    <a:pt x="1582" y="0"/>
                    <a:pt x="123" y="1517"/>
                    <a:pt x="0" y="4149"/>
                  </a:cubicBezTo>
                  <a:cubicBezTo>
                    <a:pt x="206" y="6633"/>
                    <a:pt x="1664" y="8071"/>
                    <a:pt x="4005" y="8071"/>
                  </a:cubicBezTo>
                  <a:cubicBezTo>
                    <a:pt x="6531" y="8071"/>
                    <a:pt x="8174" y="6592"/>
                    <a:pt x="8112" y="3923"/>
                  </a:cubicBezTo>
                  <a:cubicBezTo>
                    <a:pt x="8071" y="1438"/>
                    <a:pt x="6490" y="21"/>
                    <a:pt x="4149" y="0"/>
                  </a:cubicBezTo>
                  <a:cubicBezTo>
                    <a:pt x="4132" y="0"/>
                    <a:pt x="4115" y="0"/>
                    <a:pt x="409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35;p2"/>
            <p:cNvSpPr/>
            <p:nvPr/>
          </p:nvSpPr>
          <p:spPr>
            <a:xfrm>
              <a:off x="2547275" y="1912825"/>
              <a:ext cx="205375" cy="201275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36;p2"/>
            <p:cNvSpPr/>
            <p:nvPr/>
          </p:nvSpPr>
          <p:spPr>
            <a:xfrm>
              <a:off x="4847300" y="1912650"/>
              <a:ext cx="207425" cy="201750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2"/>
            <p:cNvSpPr/>
            <p:nvPr/>
          </p:nvSpPr>
          <p:spPr>
            <a:xfrm>
              <a:off x="2544700" y="3586725"/>
              <a:ext cx="207450" cy="201750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38;p2"/>
            <p:cNvSpPr/>
            <p:nvPr/>
          </p:nvSpPr>
          <p:spPr>
            <a:xfrm>
              <a:off x="4844225" y="3587375"/>
              <a:ext cx="206925" cy="20300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39;p2"/>
            <p:cNvSpPr/>
            <p:nvPr/>
          </p:nvSpPr>
          <p:spPr>
            <a:xfrm>
              <a:off x="2548300" y="4423850"/>
              <a:ext cx="203850" cy="201325"/>
            </a:xfrm>
            <a:custGeom>
              <a:avLst/>
              <a:gdLst/>
              <a:ahLst/>
              <a:cxnLst/>
              <a:rect l="l" t="t" r="r" b="b"/>
              <a:pathLst>
                <a:path w="8154" h="8053" extrusionOk="0">
                  <a:moveTo>
                    <a:pt x="4065" y="1"/>
                  </a:moveTo>
                  <a:cubicBezTo>
                    <a:pt x="4031" y="1"/>
                    <a:pt x="3998" y="1"/>
                    <a:pt x="3964" y="2"/>
                  </a:cubicBezTo>
                  <a:cubicBezTo>
                    <a:pt x="1623" y="43"/>
                    <a:pt x="42" y="1480"/>
                    <a:pt x="21" y="3965"/>
                  </a:cubicBezTo>
                  <a:cubicBezTo>
                    <a:pt x="1" y="6598"/>
                    <a:pt x="1579" y="8053"/>
                    <a:pt x="4065" y="8053"/>
                  </a:cubicBezTo>
                  <a:cubicBezTo>
                    <a:pt x="4100" y="8053"/>
                    <a:pt x="4134" y="8052"/>
                    <a:pt x="4169" y="8052"/>
                  </a:cubicBezTo>
                  <a:cubicBezTo>
                    <a:pt x="6551" y="8031"/>
                    <a:pt x="7948" y="6573"/>
                    <a:pt x="8153" y="4088"/>
                  </a:cubicBezTo>
                  <a:cubicBezTo>
                    <a:pt x="8011" y="1495"/>
                    <a:pt x="6530" y="1"/>
                    <a:pt x="406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40;p2"/>
            <p:cNvSpPr/>
            <p:nvPr/>
          </p:nvSpPr>
          <p:spPr>
            <a:xfrm>
              <a:off x="4847300" y="4423850"/>
              <a:ext cx="205900" cy="201200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69" y="1"/>
                  </a:moveTo>
                  <a:cubicBezTo>
                    <a:pt x="1704" y="1"/>
                    <a:pt x="243" y="1412"/>
                    <a:pt x="0" y="3842"/>
                  </a:cubicBezTo>
                  <a:cubicBezTo>
                    <a:pt x="62" y="6306"/>
                    <a:pt x="1315" y="7867"/>
                    <a:pt x="3717" y="8031"/>
                  </a:cubicBezTo>
                  <a:cubicBezTo>
                    <a:pt x="3873" y="8042"/>
                    <a:pt x="4026" y="8048"/>
                    <a:pt x="4175" y="8048"/>
                  </a:cubicBezTo>
                  <a:cubicBezTo>
                    <a:pt x="6502" y="8048"/>
                    <a:pt x="7996" y="6701"/>
                    <a:pt x="8112" y="4211"/>
                  </a:cubicBezTo>
                  <a:cubicBezTo>
                    <a:pt x="8235" y="1542"/>
                    <a:pt x="6592" y="22"/>
                    <a:pt x="4066" y="2"/>
                  </a:cubicBezTo>
                  <a:cubicBezTo>
                    <a:pt x="4034" y="1"/>
                    <a:pt x="4001" y="1"/>
                    <a:pt x="396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41;p2"/>
            <p:cNvSpPr/>
            <p:nvPr/>
          </p:nvSpPr>
          <p:spPr>
            <a:xfrm>
              <a:off x="2545225" y="5261050"/>
              <a:ext cx="207425" cy="201575"/>
            </a:xfrm>
            <a:custGeom>
              <a:avLst/>
              <a:gdLst/>
              <a:ahLst/>
              <a:cxnLst/>
              <a:rect l="l" t="t" r="r" b="b"/>
              <a:pathLst>
                <a:path w="8297" h="8063" extrusionOk="0">
                  <a:moveTo>
                    <a:pt x="4065" y="0"/>
                  </a:moveTo>
                  <a:cubicBezTo>
                    <a:pt x="1787" y="0"/>
                    <a:pt x="337" y="1375"/>
                    <a:pt x="185" y="3766"/>
                  </a:cubicBezTo>
                  <a:cubicBezTo>
                    <a:pt x="0" y="6374"/>
                    <a:pt x="1520" y="7955"/>
                    <a:pt x="4107" y="8058"/>
                  </a:cubicBezTo>
                  <a:cubicBezTo>
                    <a:pt x="4185" y="8061"/>
                    <a:pt x="4262" y="8063"/>
                    <a:pt x="4338" y="8063"/>
                  </a:cubicBezTo>
                  <a:cubicBezTo>
                    <a:pt x="6634" y="8063"/>
                    <a:pt x="7879" y="6564"/>
                    <a:pt x="8297" y="4238"/>
                  </a:cubicBezTo>
                  <a:cubicBezTo>
                    <a:pt x="8174" y="1918"/>
                    <a:pt x="7065" y="275"/>
                    <a:pt x="4641" y="28"/>
                  </a:cubicBezTo>
                  <a:cubicBezTo>
                    <a:pt x="4444" y="10"/>
                    <a:pt x="4251" y="0"/>
                    <a:pt x="4065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42;p2"/>
            <p:cNvSpPr/>
            <p:nvPr/>
          </p:nvSpPr>
          <p:spPr>
            <a:xfrm>
              <a:off x="4846775" y="5261225"/>
              <a:ext cx="205400" cy="201300"/>
            </a:xfrm>
            <a:custGeom>
              <a:avLst/>
              <a:gdLst/>
              <a:ahLst/>
              <a:cxnLst/>
              <a:rect l="l" t="t" r="r" b="b"/>
              <a:pathLst>
                <a:path w="8216" h="8052" extrusionOk="0">
                  <a:moveTo>
                    <a:pt x="4012" y="0"/>
                  </a:moveTo>
                  <a:cubicBezTo>
                    <a:pt x="1631" y="0"/>
                    <a:pt x="386" y="1510"/>
                    <a:pt x="1" y="3800"/>
                  </a:cubicBezTo>
                  <a:cubicBezTo>
                    <a:pt x="186" y="6408"/>
                    <a:pt x="1459" y="8030"/>
                    <a:pt x="4087" y="8051"/>
                  </a:cubicBezTo>
                  <a:cubicBezTo>
                    <a:pt x="4121" y="8052"/>
                    <a:pt x="4154" y="8052"/>
                    <a:pt x="4187" y="8052"/>
                  </a:cubicBezTo>
                  <a:cubicBezTo>
                    <a:pt x="6552" y="8052"/>
                    <a:pt x="8031" y="6601"/>
                    <a:pt x="8112" y="4231"/>
                  </a:cubicBezTo>
                  <a:cubicBezTo>
                    <a:pt x="8215" y="1623"/>
                    <a:pt x="6737" y="62"/>
                    <a:pt x="4108" y="1"/>
                  </a:cubicBezTo>
                  <a:cubicBezTo>
                    <a:pt x="4076" y="0"/>
                    <a:pt x="4044" y="0"/>
                    <a:pt x="4012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1A48D4-CD6F-4D96-AC49-73EC80E1B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3516C2-7ADE-43D9-9B30-808C6F1DDB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07708F-F1B1-4BDD-91F5-2FAD26FE2E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7-May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0558C0-6BF4-4A76-AB77-4BDE8DF035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4EAE0B-197D-42FA-ADB1-EA6D05F66B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9216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6B3E1C-4743-4C4F-ADB4-56D1ED3C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A8B290-DBCE-41B8-A47A-E517F55BDDF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8070060-5793-4A88-A362-53480BF9E1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C7BE82-0637-46DC-9530-3463D938A9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7-May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1B11F3-0E30-4270-AF70-19EB02A1B3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26586-2EBB-40A2-9607-3A7400353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3721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66058D-5931-414D-BFD9-CC4812BB2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398DD9-485B-44C8-AB38-D3E176209C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884C2A-012D-41F2-A4A8-788FDE3B2D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3B1201-D9FF-415A-84B3-E0B4356A510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4AC74A-3ECE-4EA3-B89D-BECE83FD6D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A96AD02-D5D5-485F-9CD4-ACD9615E88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7-May-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459F8AF-260C-42A2-8F21-2D0305369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9CFF7E7-2CB3-404D-BF0C-7469E2EFC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0960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F496FB-C00E-407C-A1AB-36699FC7CD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79D0FD-43BD-4031-88C6-F186C4201A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7-May-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BDF44-D303-4B0C-AB41-9467338CE9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22FE7C-C827-497E-AFB5-7F991458E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0057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092B55-2C86-4004-9C20-7748A62D6F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7-May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BA0C3F-56F3-480F-92F0-F120763FA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BEC8D9-4312-4C45-8D8D-AE51B0691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943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00948-E5FE-4F3B-9ADF-F899A5255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4F47EA-54E3-4C0B-9789-E57F85C865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31EE17-BE9C-4773-9377-4CF22105E0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E426D39-9DEE-4AB1-A672-2C31DA06AC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7-May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972BA4-CE9E-4782-8AE9-290AC2E4AC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10F020-688B-4438-A47D-7710B01635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4115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E6A0D0-9449-44A7-BF4E-F411EAF27A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F703DDC-6B44-4F45-B2F4-E20364ACA18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67F0BA-3215-4278-94C0-075FD22768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07D025-CB8B-4657-833D-E656D2A6AB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7-May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D4534A-FF15-434A-BA4E-F14079AF8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7154D1-909E-437A-BF85-A33BD24E2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8594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976AC0-64F5-4BD2-8EC9-D097CC9B2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5842EB3-1A0D-42DC-BB03-952A02C1A6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AA4432-365A-474F-8A7D-77DED72CB1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7-May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5F80D-DB6F-46FC-93A0-02F60E9368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71B36C-0853-4359-A49C-558A9191A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9113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EB530E1-40BA-4C53-B7EE-49E1E575CD8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6874AC8-BDDA-4FB0-9307-5D272539A3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19C4E0-739C-43B9-9680-8AB2CAD56C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7-May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8BCB6E-3F1A-4080-8B17-08CF997D32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F039F-67F0-42A4-8DFD-FE0406C3F4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2392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BLANK_1_1_1_1_1_1_1">
    <p:spTree>
      <p:nvGrpSpPr>
        <p:cNvPr id="1" name="Shape 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1" name="Google Shape;401;p27"/>
          <p:cNvGrpSpPr/>
          <p:nvPr/>
        </p:nvGrpSpPr>
        <p:grpSpPr>
          <a:xfrm>
            <a:off x="7784688" y="534993"/>
            <a:ext cx="644323" cy="482128"/>
            <a:chOff x="9884101" y="2516393"/>
            <a:chExt cx="644323" cy="482128"/>
          </a:xfrm>
        </p:grpSpPr>
        <p:sp>
          <p:nvSpPr>
            <p:cNvPr id="402" name="Google Shape;402;p27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" name="Google Shape;403;p27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" name="Google Shape;404;p27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" name="Google Shape;405;p27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" name="Google Shape;406;p27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" name="Google Shape;407;p27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" name="Google Shape;408;p27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" name="Google Shape;409;p27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" name="Google Shape;410;p27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" name="Google Shape;411;p27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" name="Google Shape;412;p27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" name="Google Shape;413;p27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14" name="Google Shape;414;p27"/>
          <p:cNvGrpSpPr/>
          <p:nvPr/>
        </p:nvGrpSpPr>
        <p:grpSpPr>
          <a:xfrm>
            <a:off x="715088" y="534993"/>
            <a:ext cx="644323" cy="482128"/>
            <a:chOff x="9884101" y="2516393"/>
            <a:chExt cx="644323" cy="482128"/>
          </a:xfrm>
        </p:grpSpPr>
        <p:sp>
          <p:nvSpPr>
            <p:cNvPr id="415" name="Google Shape;415;p27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" name="Google Shape;416;p27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" name="Google Shape;417;p27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" name="Google Shape;418;p27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" name="Google Shape;419;p27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" name="Google Shape;420;p27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" name="Google Shape;421;p27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" name="Google Shape;422;p27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" name="Google Shape;423;p27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" name="Google Shape;424;p27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" name="Google Shape;425;p27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" name="Google Shape;426;p27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LANK_1_1_1_1_1_1_1_1">
    <p:spTree>
      <p:nvGrpSpPr>
        <p:cNvPr id="1" name="Shape 4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8" name="Google Shape;428;p28"/>
          <p:cNvGrpSpPr/>
          <p:nvPr/>
        </p:nvGrpSpPr>
        <p:grpSpPr>
          <a:xfrm>
            <a:off x="715088" y="534993"/>
            <a:ext cx="644323" cy="482128"/>
            <a:chOff x="9884101" y="2516393"/>
            <a:chExt cx="644323" cy="482128"/>
          </a:xfrm>
        </p:grpSpPr>
        <p:sp>
          <p:nvSpPr>
            <p:cNvPr id="429" name="Google Shape;429;p28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" name="Google Shape;430;p28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" name="Google Shape;431;p28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" name="Google Shape;432;p28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" name="Google Shape;433;p28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" name="Google Shape;434;p28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" name="Google Shape;435;p28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" name="Google Shape;436;p28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" name="Google Shape;437;p28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" name="Google Shape;438;p28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" name="Google Shape;439;p28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" name="Google Shape;440;p28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BLANK_1_1_1_1_1_1_1_1_1">
    <p:spTree>
      <p:nvGrpSpPr>
        <p:cNvPr id="1" name="Shape 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2" name="Google Shape;442;p29"/>
          <p:cNvGrpSpPr/>
          <p:nvPr/>
        </p:nvGrpSpPr>
        <p:grpSpPr>
          <a:xfrm>
            <a:off x="7784688" y="534993"/>
            <a:ext cx="644323" cy="482128"/>
            <a:chOff x="9884101" y="2516393"/>
            <a:chExt cx="644323" cy="482128"/>
          </a:xfrm>
        </p:grpSpPr>
        <p:sp>
          <p:nvSpPr>
            <p:cNvPr id="443" name="Google Shape;443;p29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29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" name="Google Shape;445;p29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" name="Google Shape;446;p29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9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" name="Google Shape;448;p29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" name="Google Shape;449;p29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29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29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" name="Google Shape;452;p29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" name="Google Shape;453;p29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" name="Google Shape;454;p29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3">
  <p:cSld name="BLANK_1_1_1_1_1_1_1_1_1_1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6" name="Google Shape;456;p30"/>
          <p:cNvGrpSpPr/>
          <p:nvPr/>
        </p:nvGrpSpPr>
        <p:grpSpPr>
          <a:xfrm>
            <a:off x="714988" y="534993"/>
            <a:ext cx="644323" cy="696478"/>
            <a:chOff x="9884101" y="2516393"/>
            <a:chExt cx="644323" cy="696478"/>
          </a:xfrm>
        </p:grpSpPr>
        <p:sp>
          <p:nvSpPr>
            <p:cNvPr id="457" name="Google Shape;457;p30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" name="Google Shape;458;p30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30"/>
            <p:cNvSpPr/>
            <p:nvPr/>
          </p:nvSpPr>
          <p:spPr>
            <a:xfrm>
              <a:off x="10082049" y="3161133"/>
              <a:ext cx="52322" cy="51738"/>
            </a:xfrm>
            <a:custGeom>
              <a:avLst/>
              <a:gdLst/>
              <a:ahLst/>
              <a:cxnLst/>
              <a:rect l="l" t="t" r="r" b="b"/>
              <a:pathLst>
                <a:path w="8153" h="8062" extrusionOk="0">
                  <a:moveTo>
                    <a:pt x="4039" y="1"/>
                  </a:moveTo>
                  <a:cubicBezTo>
                    <a:pt x="4007" y="1"/>
                    <a:pt x="3976" y="1"/>
                    <a:pt x="3944" y="2"/>
                  </a:cubicBezTo>
                  <a:cubicBezTo>
                    <a:pt x="1582" y="43"/>
                    <a:pt x="144" y="1460"/>
                    <a:pt x="1" y="4109"/>
                  </a:cubicBezTo>
                  <a:cubicBezTo>
                    <a:pt x="62" y="6409"/>
                    <a:pt x="1356" y="7908"/>
                    <a:pt x="3759" y="8052"/>
                  </a:cubicBezTo>
                  <a:cubicBezTo>
                    <a:pt x="3872" y="8058"/>
                    <a:pt x="3984" y="8061"/>
                    <a:pt x="4094" y="8061"/>
                  </a:cubicBezTo>
                  <a:cubicBezTo>
                    <a:pt x="6509" y="8061"/>
                    <a:pt x="8033" y="6565"/>
                    <a:pt x="8092" y="4129"/>
                  </a:cubicBezTo>
                  <a:cubicBezTo>
                    <a:pt x="8153" y="1614"/>
                    <a:pt x="6571" y="1"/>
                    <a:pt x="403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30"/>
            <p:cNvSpPr/>
            <p:nvPr/>
          </p:nvSpPr>
          <p:spPr>
            <a:xfrm>
              <a:off x="10278418" y="3161095"/>
              <a:ext cx="52059" cy="51731"/>
            </a:xfrm>
            <a:custGeom>
              <a:avLst/>
              <a:gdLst/>
              <a:ahLst/>
              <a:cxnLst/>
              <a:rect l="l" t="t" r="r" b="b"/>
              <a:pathLst>
                <a:path w="8112" h="8061" extrusionOk="0">
                  <a:moveTo>
                    <a:pt x="4013" y="1"/>
                  </a:moveTo>
                  <a:cubicBezTo>
                    <a:pt x="1586" y="1"/>
                    <a:pt x="41" y="1558"/>
                    <a:pt x="21" y="4012"/>
                  </a:cubicBezTo>
                  <a:cubicBezTo>
                    <a:pt x="1" y="6495"/>
                    <a:pt x="1543" y="8061"/>
                    <a:pt x="4019" y="8061"/>
                  </a:cubicBezTo>
                  <a:cubicBezTo>
                    <a:pt x="4082" y="8061"/>
                    <a:pt x="4146" y="8060"/>
                    <a:pt x="4210" y="8058"/>
                  </a:cubicBezTo>
                  <a:cubicBezTo>
                    <a:pt x="6592" y="7996"/>
                    <a:pt x="7989" y="6579"/>
                    <a:pt x="8091" y="4115"/>
                  </a:cubicBezTo>
                  <a:lnTo>
                    <a:pt x="8112" y="4115"/>
                  </a:lnTo>
                  <a:cubicBezTo>
                    <a:pt x="8050" y="1589"/>
                    <a:pt x="6654" y="131"/>
                    <a:pt x="4292" y="8"/>
                  </a:cubicBezTo>
                  <a:cubicBezTo>
                    <a:pt x="4198" y="3"/>
                    <a:pt x="4105" y="1"/>
                    <a:pt x="401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" name="Google Shape;461;p30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" name="Google Shape;462;p30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" name="Google Shape;463;p30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" name="Google Shape;464;p30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" name="Google Shape;465;p30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" name="Google Shape;466;p30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" name="Google Shape;467;p30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" name="Google Shape;468;p30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" name="Google Shape;469;p30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" name="Google Shape;470;p30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" name="Google Shape;471;p30"/>
            <p:cNvSpPr/>
            <p:nvPr/>
          </p:nvSpPr>
          <p:spPr>
            <a:xfrm>
              <a:off x="9885025" y="3161133"/>
              <a:ext cx="52328" cy="51680"/>
            </a:xfrm>
            <a:custGeom>
              <a:avLst/>
              <a:gdLst/>
              <a:ahLst/>
              <a:cxnLst/>
              <a:rect l="l" t="t" r="r" b="b"/>
              <a:pathLst>
                <a:path w="8154" h="8053" extrusionOk="0">
                  <a:moveTo>
                    <a:pt x="4065" y="1"/>
                  </a:moveTo>
                  <a:cubicBezTo>
                    <a:pt x="4031" y="1"/>
                    <a:pt x="3998" y="1"/>
                    <a:pt x="3964" y="2"/>
                  </a:cubicBezTo>
                  <a:cubicBezTo>
                    <a:pt x="1623" y="43"/>
                    <a:pt x="42" y="1480"/>
                    <a:pt x="21" y="3965"/>
                  </a:cubicBezTo>
                  <a:cubicBezTo>
                    <a:pt x="1" y="6598"/>
                    <a:pt x="1579" y="8053"/>
                    <a:pt x="4065" y="8053"/>
                  </a:cubicBezTo>
                  <a:cubicBezTo>
                    <a:pt x="4100" y="8053"/>
                    <a:pt x="4134" y="8052"/>
                    <a:pt x="4169" y="8052"/>
                  </a:cubicBezTo>
                  <a:cubicBezTo>
                    <a:pt x="6551" y="8031"/>
                    <a:pt x="7948" y="6573"/>
                    <a:pt x="8153" y="4088"/>
                  </a:cubicBezTo>
                  <a:cubicBezTo>
                    <a:pt x="8011" y="1495"/>
                    <a:pt x="6530" y="1"/>
                    <a:pt x="406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" name="Google Shape;472;p30"/>
            <p:cNvSpPr/>
            <p:nvPr/>
          </p:nvSpPr>
          <p:spPr>
            <a:xfrm>
              <a:off x="10475178" y="3161133"/>
              <a:ext cx="52855" cy="51648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69" y="1"/>
                  </a:moveTo>
                  <a:cubicBezTo>
                    <a:pt x="1704" y="1"/>
                    <a:pt x="243" y="1412"/>
                    <a:pt x="0" y="3842"/>
                  </a:cubicBezTo>
                  <a:cubicBezTo>
                    <a:pt x="62" y="6306"/>
                    <a:pt x="1315" y="7867"/>
                    <a:pt x="3717" y="8031"/>
                  </a:cubicBezTo>
                  <a:cubicBezTo>
                    <a:pt x="3873" y="8042"/>
                    <a:pt x="4026" y="8048"/>
                    <a:pt x="4175" y="8048"/>
                  </a:cubicBezTo>
                  <a:cubicBezTo>
                    <a:pt x="6502" y="8048"/>
                    <a:pt x="7996" y="6701"/>
                    <a:pt x="8112" y="4211"/>
                  </a:cubicBezTo>
                  <a:cubicBezTo>
                    <a:pt x="8235" y="1542"/>
                    <a:pt x="6592" y="22"/>
                    <a:pt x="4066" y="2"/>
                  </a:cubicBezTo>
                  <a:cubicBezTo>
                    <a:pt x="4034" y="1"/>
                    <a:pt x="4001" y="1"/>
                    <a:pt x="396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73" name="Google Shape;473;p30"/>
          <p:cNvGrpSpPr/>
          <p:nvPr/>
        </p:nvGrpSpPr>
        <p:grpSpPr>
          <a:xfrm>
            <a:off x="7784688" y="534993"/>
            <a:ext cx="644323" cy="696478"/>
            <a:chOff x="9884101" y="2516393"/>
            <a:chExt cx="644323" cy="696478"/>
          </a:xfrm>
        </p:grpSpPr>
        <p:sp>
          <p:nvSpPr>
            <p:cNvPr id="474" name="Google Shape;474;p30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" name="Google Shape;475;p30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" name="Google Shape;476;p30"/>
            <p:cNvSpPr/>
            <p:nvPr/>
          </p:nvSpPr>
          <p:spPr>
            <a:xfrm>
              <a:off x="10082049" y="3161133"/>
              <a:ext cx="52322" cy="51738"/>
            </a:xfrm>
            <a:custGeom>
              <a:avLst/>
              <a:gdLst/>
              <a:ahLst/>
              <a:cxnLst/>
              <a:rect l="l" t="t" r="r" b="b"/>
              <a:pathLst>
                <a:path w="8153" h="8062" extrusionOk="0">
                  <a:moveTo>
                    <a:pt x="4039" y="1"/>
                  </a:moveTo>
                  <a:cubicBezTo>
                    <a:pt x="4007" y="1"/>
                    <a:pt x="3976" y="1"/>
                    <a:pt x="3944" y="2"/>
                  </a:cubicBezTo>
                  <a:cubicBezTo>
                    <a:pt x="1582" y="43"/>
                    <a:pt x="144" y="1460"/>
                    <a:pt x="1" y="4109"/>
                  </a:cubicBezTo>
                  <a:cubicBezTo>
                    <a:pt x="62" y="6409"/>
                    <a:pt x="1356" y="7908"/>
                    <a:pt x="3759" y="8052"/>
                  </a:cubicBezTo>
                  <a:cubicBezTo>
                    <a:pt x="3872" y="8058"/>
                    <a:pt x="3984" y="8061"/>
                    <a:pt x="4094" y="8061"/>
                  </a:cubicBezTo>
                  <a:cubicBezTo>
                    <a:pt x="6509" y="8061"/>
                    <a:pt x="8033" y="6565"/>
                    <a:pt x="8092" y="4129"/>
                  </a:cubicBezTo>
                  <a:cubicBezTo>
                    <a:pt x="8153" y="1614"/>
                    <a:pt x="6571" y="1"/>
                    <a:pt x="403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" name="Google Shape;477;p30"/>
            <p:cNvSpPr/>
            <p:nvPr/>
          </p:nvSpPr>
          <p:spPr>
            <a:xfrm>
              <a:off x="10278418" y="3161095"/>
              <a:ext cx="52059" cy="51731"/>
            </a:xfrm>
            <a:custGeom>
              <a:avLst/>
              <a:gdLst/>
              <a:ahLst/>
              <a:cxnLst/>
              <a:rect l="l" t="t" r="r" b="b"/>
              <a:pathLst>
                <a:path w="8112" h="8061" extrusionOk="0">
                  <a:moveTo>
                    <a:pt x="4013" y="1"/>
                  </a:moveTo>
                  <a:cubicBezTo>
                    <a:pt x="1586" y="1"/>
                    <a:pt x="41" y="1558"/>
                    <a:pt x="21" y="4012"/>
                  </a:cubicBezTo>
                  <a:cubicBezTo>
                    <a:pt x="1" y="6495"/>
                    <a:pt x="1543" y="8061"/>
                    <a:pt x="4019" y="8061"/>
                  </a:cubicBezTo>
                  <a:cubicBezTo>
                    <a:pt x="4082" y="8061"/>
                    <a:pt x="4146" y="8060"/>
                    <a:pt x="4210" y="8058"/>
                  </a:cubicBezTo>
                  <a:cubicBezTo>
                    <a:pt x="6592" y="7996"/>
                    <a:pt x="7989" y="6579"/>
                    <a:pt x="8091" y="4115"/>
                  </a:cubicBezTo>
                  <a:lnTo>
                    <a:pt x="8112" y="4115"/>
                  </a:lnTo>
                  <a:cubicBezTo>
                    <a:pt x="8050" y="1589"/>
                    <a:pt x="6654" y="131"/>
                    <a:pt x="4292" y="8"/>
                  </a:cubicBezTo>
                  <a:cubicBezTo>
                    <a:pt x="4198" y="3"/>
                    <a:pt x="4105" y="1"/>
                    <a:pt x="401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" name="Google Shape;478;p30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" name="Google Shape;479;p30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" name="Google Shape;480;p30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" name="Google Shape;481;p30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" name="Google Shape;482;p30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" name="Google Shape;483;p30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" name="Google Shape;484;p30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" name="Google Shape;485;p30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" name="Google Shape;486;p30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" name="Google Shape;487;p30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" name="Google Shape;488;p30"/>
            <p:cNvSpPr/>
            <p:nvPr/>
          </p:nvSpPr>
          <p:spPr>
            <a:xfrm>
              <a:off x="9885025" y="3161133"/>
              <a:ext cx="52328" cy="51680"/>
            </a:xfrm>
            <a:custGeom>
              <a:avLst/>
              <a:gdLst/>
              <a:ahLst/>
              <a:cxnLst/>
              <a:rect l="l" t="t" r="r" b="b"/>
              <a:pathLst>
                <a:path w="8154" h="8053" extrusionOk="0">
                  <a:moveTo>
                    <a:pt x="4065" y="1"/>
                  </a:moveTo>
                  <a:cubicBezTo>
                    <a:pt x="4031" y="1"/>
                    <a:pt x="3998" y="1"/>
                    <a:pt x="3964" y="2"/>
                  </a:cubicBezTo>
                  <a:cubicBezTo>
                    <a:pt x="1623" y="43"/>
                    <a:pt x="42" y="1480"/>
                    <a:pt x="21" y="3965"/>
                  </a:cubicBezTo>
                  <a:cubicBezTo>
                    <a:pt x="1" y="6598"/>
                    <a:pt x="1579" y="8053"/>
                    <a:pt x="4065" y="8053"/>
                  </a:cubicBezTo>
                  <a:cubicBezTo>
                    <a:pt x="4100" y="8053"/>
                    <a:pt x="4134" y="8052"/>
                    <a:pt x="4169" y="8052"/>
                  </a:cubicBezTo>
                  <a:cubicBezTo>
                    <a:pt x="6551" y="8031"/>
                    <a:pt x="7948" y="6573"/>
                    <a:pt x="8153" y="4088"/>
                  </a:cubicBezTo>
                  <a:cubicBezTo>
                    <a:pt x="8011" y="1495"/>
                    <a:pt x="6530" y="1"/>
                    <a:pt x="406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" name="Google Shape;489;p30"/>
            <p:cNvSpPr/>
            <p:nvPr/>
          </p:nvSpPr>
          <p:spPr>
            <a:xfrm>
              <a:off x="10475178" y="3161133"/>
              <a:ext cx="52855" cy="51648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69" y="1"/>
                  </a:moveTo>
                  <a:cubicBezTo>
                    <a:pt x="1704" y="1"/>
                    <a:pt x="243" y="1412"/>
                    <a:pt x="0" y="3842"/>
                  </a:cubicBezTo>
                  <a:cubicBezTo>
                    <a:pt x="62" y="6306"/>
                    <a:pt x="1315" y="7867"/>
                    <a:pt x="3717" y="8031"/>
                  </a:cubicBezTo>
                  <a:cubicBezTo>
                    <a:pt x="3873" y="8042"/>
                    <a:pt x="4026" y="8048"/>
                    <a:pt x="4175" y="8048"/>
                  </a:cubicBezTo>
                  <a:cubicBezTo>
                    <a:pt x="6502" y="8048"/>
                    <a:pt x="7996" y="6701"/>
                    <a:pt x="8112" y="4211"/>
                  </a:cubicBezTo>
                  <a:cubicBezTo>
                    <a:pt x="8235" y="1542"/>
                    <a:pt x="6592" y="22"/>
                    <a:pt x="4066" y="2"/>
                  </a:cubicBezTo>
                  <a:cubicBezTo>
                    <a:pt x="4034" y="1"/>
                    <a:pt x="4001" y="1"/>
                    <a:pt x="396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4">
  <p:cSld name="BLANK_1_1_1_1_1_1_1_1_1_1_1"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1" name="Google Shape;491;p31"/>
          <p:cNvGrpSpPr/>
          <p:nvPr/>
        </p:nvGrpSpPr>
        <p:grpSpPr>
          <a:xfrm>
            <a:off x="715100" y="3696943"/>
            <a:ext cx="644323" cy="911522"/>
            <a:chOff x="9884101" y="2516393"/>
            <a:chExt cx="644323" cy="911522"/>
          </a:xfrm>
        </p:grpSpPr>
        <p:sp>
          <p:nvSpPr>
            <p:cNvPr id="492" name="Google Shape;492;p31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" name="Google Shape;493;p31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" name="Google Shape;494;p31"/>
            <p:cNvSpPr/>
            <p:nvPr/>
          </p:nvSpPr>
          <p:spPr>
            <a:xfrm>
              <a:off x="10082049" y="3161133"/>
              <a:ext cx="52322" cy="51738"/>
            </a:xfrm>
            <a:custGeom>
              <a:avLst/>
              <a:gdLst/>
              <a:ahLst/>
              <a:cxnLst/>
              <a:rect l="l" t="t" r="r" b="b"/>
              <a:pathLst>
                <a:path w="8153" h="8062" extrusionOk="0">
                  <a:moveTo>
                    <a:pt x="4039" y="1"/>
                  </a:moveTo>
                  <a:cubicBezTo>
                    <a:pt x="4007" y="1"/>
                    <a:pt x="3976" y="1"/>
                    <a:pt x="3944" y="2"/>
                  </a:cubicBezTo>
                  <a:cubicBezTo>
                    <a:pt x="1582" y="43"/>
                    <a:pt x="144" y="1460"/>
                    <a:pt x="1" y="4109"/>
                  </a:cubicBezTo>
                  <a:cubicBezTo>
                    <a:pt x="62" y="6409"/>
                    <a:pt x="1356" y="7908"/>
                    <a:pt x="3759" y="8052"/>
                  </a:cubicBezTo>
                  <a:cubicBezTo>
                    <a:pt x="3872" y="8058"/>
                    <a:pt x="3984" y="8061"/>
                    <a:pt x="4094" y="8061"/>
                  </a:cubicBezTo>
                  <a:cubicBezTo>
                    <a:pt x="6509" y="8061"/>
                    <a:pt x="8033" y="6565"/>
                    <a:pt x="8092" y="4129"/>
                  </a:cubicBezTo>
                  <a:cubicBezTo>
                    <a:pt x="8153" y="1614"/>
                    <a:pt x="6571" y="1"/>
                    <a:pt x="403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495;p31"/>
            <p:cNvSpPr/>
            <p:nvPr/>
          </p:nvSpPr>
          <p:spPr>
            <a:xfrm>
              <a:off x="10278418" y="3161095"/>
              <a:ext cx="52059" cy="51731"/>
            </a:xfrm>
            <a:custGeom>
              <a:avLst/>
              <a:gdLst/>
              <a:ahLst/>
              <a:cxnLst/>
              <a:rect l="l" t="t" r="r" b="b"/>
              <a:pathLst>
                <a:path w="8112" h="8061" extrusionOk="0">
                  <a:moveTo>
                    <a:pt x="4013" y="1"/>
                  </a:moveTo>
                  <a:cubicBezTo>
                    <a:pt x="1586" y="1"/>
                    <a:pt x="41" y="1558"/>
                    <a:pt x="21" y="4012"/>
                  </a:cubicBezTo>
                  <a:cubicBezTo>
                    <a:pt x="1" y="6495"/>
                    <a:pt x="1543" y="8061"/>
                    <a:pt x="4019" y="8061"/>
                  </a:cubicBezTo>
                  <a:cubicBezTo>
                    <a:pt x="4082" y="8061"/>
                    <a:pt x="4146" y="8060"/>
                    <a:pt x="4210" y="8058"/>
                  </a:cubicBezTo>
                  <a:cubicBezTo>
                    <a:pt x="6592" y="7996"/>
                    <a:pt x="7989" y="6579"/>
                    <a:pt x="8091" y="4115"/>
                  </a:cubicBezTo>
                  <a:lnTo>
                    <a:pt x="8112" y="4115"/>
                  </a:lnTo>
                  <a:cubicBezTo>
                    <a:pt x="8050" y="1589"/>
                    <a:pt x="6654" y="131"/>
                    <a:pt x="4292" y="8"/>
                  </a:cubicBezTo>
                  <a:cubicBezTo>
                    <a:pt x="4198" y="3"/>
                    <a:pt x="4105" y="1"/>
                    <a:pt x="401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496;p31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" name="Google Shape;497;p31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" name="Google Shape;498;p31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" name="Google Shape;499;p31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" name="Google Shape;500;p31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" name="Google Shape;501;p31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" name="Google Shape;502;p31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" name="Google Shape;503;p31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" name="Google Shape;504;p31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" name="Google Shape;505;p31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" name="Google Shape;506;p31"/>
            <p:cNvSpPr/>
            <p:nvPr/>
          </p:nvSpPr>
          <p:spPr>
            <a:xfrm>
              <a:off x="9885025" y="3161133"/>
              <a:ext cx="52328" cy="51680"/>
            </a:xfrm>
            <a:custGeom>
              <a:avLst/>
              <a:gdLst/>
              <a:ahLst/>
              <a:cxnLst/>
              <a:rect l="l" t="t" r="r" b="b"/>
              <a:pathLst>
                <a:path w="8154" h="8053" extrusionOk="0">
                  <a:moveTo>
                    <a:pt x="4065" y="1"/>
                  </a:moveTo>
                  <a:cubicBezTo>
                    <a:pt x="4031" y="1"/>
                    <a:pt x="3998" y="1"/>
                    <a:pt x="3964" y="2"/>
                  </a:cubicBezTo>
                  <a:cubicBezTo>
                    <a:pt x="1623" y="43"/>
                    <a:pt x="42" y="1480"/>
                    <a:pt x="21" y="3965"/>
                  </a:cubicBezTo>
                  <a:cubicBezTo>
                    <a:pt x="1" y="6598"/>
                    <a:pt x="1579" y="8053"/>
                    <a:pt x="4065" y="8053"/>
                  </a:cubicBezTo>
                  <a:cubicBezTo>
                    <a:pt x="4100" y="8053"/>
                    <a:pt x="4134" y="8052"/>
                    <a:pt x="4169" y="8052"/>
                  </a:cubicBezTo>
                  <a:cubicBezTo>
                    <a:pt x="6551" y="8031"/>
                    <a:pt x="7948" y="6573"/>
                    <a:pt x="8153" y="4088"/>
                  </a:cubicBezTo>
                  <a:cubicBezTo>
                    <a:pt x="8011" y="1495"/>
                    <a:pt x="6530" y="1"/>
                    <a:pt x="406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" name="Google Shape;507;p31"/>
            <p:cNvSpPr/>
            <p:nvPr/>
          </p:nvSpPr>
          <p:spPr>
            <a:xfrm>
              <a:off x="10475178" y="3161133"/>
              <a:ext cx="52855" cy="51648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69" y="1"/>
                  </a:moveTo>
                  <a:cubicBezTo>
                    <a:pt x="1704" y="1"/>
                    <a:pt x="243" y="1412"/>
                    <a:pt x="0" y="3842"/>
                  </a:cubicBezTo>
                  <a:cubicBezTo>
                    <a:pt x="62" y="6306"/>
                    <a:pt x="1315" y="7867"/>
                    <a:pt x="3717" y="8031"/>
                  </a:cubicBezTo>
                  <a:cubicBezTo>
                    <a:pt x="3873" y="8042"/>
                    <a:pt x="4026" y="8048"/>
                    <a:pt x="4175" y="8048"/>
                  </a:cubicBezTo>
                  <a:cubicBezTo>
                    <a:pt x="6502" y="8048"/>
                    <a:pt x="7996" y="6701"/>
                    <a:pt x="8112" y="4211"/>
                  </a:cubicBezTo>
                  <a:cubicBezTo>
                    <a:pt x="8235" y="1542"/>
                    <a:pt x="6592" y="22"/>
                    <a:pt x="4066" y="2"/>
                  </a:cubicBezTo>
                  <a:cubicBezTo>
                    <a:pt x="4034" y="1"/>
                    <a:pt x="4001" y="1"/>
                    <a:pt x="396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" name="Google Shape;508;p31"/>
            <p:cNvSpPr/>
            <p:nvPr/>
          </p:nvSpPr>
          <p:spPr>
            <a:xfrm>
              <a:off x="10475043" y="3376088"/>
              <a:ext cx="52726" cy="51674"/>
            </a:xfrm>
            <a:custGeom>
              <a:avLst/>
              <a:gdLst/>
              <a:ahLst/>
              <a:cxnLst/>
              <a:rect l="l" t="t" r="r" b="b"/>
              <a:pathLst>
                <a:path w="8216" h="8052" extrusionOk="0">
                  <a:moveTo>
                    <a:pt x="4012" y="0"/>
                  </a:moveTo>
                  <a:cubicBezTo>
                    <a:pt x="1631" y="0"/>
                    <a:pt x="386" y="1510"/>
                    <a:pt x="1" y="3800"/>
                  </a:cubicBezTo>
                  <a:cubicBezTo>
                    <a:pt x="186" y="6408"/>
                    <a:pt x="1459" y="8030"/>
                    <a:pt x="4087" y="8051"/>
                  </a:cubicBezTo>
                  <a:cubicBezTo>
                    <a:pt x="4121" y="8052"/>
                    <a:pt x="4154" y="8052"/>
                    <a:pt x="4187" y="8052"/>
                  </a:cubicBezTo>
                  <a:cubicBezTo>
                    <a:pt x="6552" y="8052"/>
                    <a:pt x="8031" y="6601"/>
                    <a:pt x="8112" y="4231"/>
                  </a:cubicBezTo>
                  <a:cubicBezTo>
                    <a:pt x="8215" y="1623"/>
                    <a:pt x="6737" y="62"/>
                    <a:pt x="4108" y="1"/>
                  </a:cubicBezTo>
                  <a:cubicBezTo>
                    <a:pt x="4076" y="0"/>
                    <a:pt x="4044" y="0"/>
                    <a:pt x="4012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" name="Google Shape;509;p31"/>
            <p:cNvSpPr/>
            <p:nvPr/>
          </p:nvSpPr>
          <p:spPr>
            <a:xfrm>
              <a:off x="10278283" y="3375696"/>
              <a:ext cx="53118" cy="52219"/>
            </a:xfrm>
            <a:custGeom>
              <a:avLst/>
              <a:gdLst/>
              <a:ahLst/>
              <a:cxnLst/>
              <a:rect l="l" t="t" r="r" b="b"/>
              <a:pathLst>
                <a:path w="8277" h="8137" extrusionOk="0">
                  <a:moveTo>
                    <a:pt x="4354" y="0"/>
                  </a:moveTo>
                  <a:cubicBezTo>
                    <a:pt x="1602" y="82"/>
                    <a:pt x="42" y="1602"/>
                    <a:pt x="21" y="4107"/>
                  </a:cubicBezTo>
                  <a:cubicBezTo>
                    <a:pt x="1" y="6428"/>
                    <a:pt x="1459" y="8050"/>
                    <a:pt x="3923" y="8133"/>
                  </a:cubicBezTo>
                  <a:cubicBezTo>
                    <a:pt x="3996" y="8135"/>
                    <a:pt x="4067" y="8136"/>
                    <a:pt x="4138" y="8136"/>
                  </a:cubicBezTo>
                  <a:cubicBezTo>
                    <a:pt x="6438" y="8136"/>
                    <a:pt x="7912" y="6847"/>
                    <a:pt x="8071" y="4436"/>
                  </a:cubicBezTo>
                  <a:cubicBezTo>
                    <a:pt x="8277" y="1807"/>
                    <a:pt x="6839" y="370"/>
                    <a:pt x="4354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31"/>
            <p:cNvSpPr/>
            <p:nvPr/>
          </p:nvSpPr>
          <p:spPr>
            <a:xfrm>
              <a:off x="10081920" y="3376088"/>
              <a:ext cx="52194" cy="51802"/>
            </a:xfrm>
            <a:custGeom>
              <a:avLst/>
              <a:gdLst/>
              <a:ahLst/>
              <a:cxnLst/>
              <a:rect l="l" t="t" r="r" b="b"/>
              <a:pathLst>
                <a:path w="8133" h="8072" extrusionOk="0">
                  <a:moveTo>
                    <a:pt x="4060" y="0"/>
                  </a:moveTo>
                  <a:cubicBezTo>
                    <a:pt x="4028" y="0"/>
                    <a:pt x="3996" y="0"/>
                    <a:pt x="3964" y="1"/>
                  </a:cubicBezTo>
                  <a:cubicBezTo>
                    <a:pt x="1499" y="42"/>
                    <a:pt x="247" y="1521"/>
                    <a:pt x="0" y="3944"/>
                  </a:cubicBezTo>
                  <a:cubicBezTo>
                    <a:pt x="164" y="6531"/>
                    <a:pt x="1499" y="8072"/>
                    <a:pt x="4128" y="8072"/>
                  </a:cubicBezTo>
                  <a:cubicBezTo>
                    <a:pt x="6613" y="8051"/>
                    <a:pt x="8091" y="6449"/>
                    <a:pt x="8112" y="4129"/>
                  </a:cubicBezTo>
                  <a:cubicBezTo>
                    <a:pt x="8132" y="1673"/>
                    <a:pt x="6709" y="0"/>
                    <a:pt x="406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31"/>
            <p:cNvSpPr/>
            <p:nvPr/>
          </p:nvSpPr>
          <p:spPr>
            <a:xfrm>
              <a:off x="9884236" y="3376043"/>
              <a:ext cx="53246" cy="51744"/>
            </a:xfrm>
            <a:custGeom>
              <a:avLst/>
              <a:gdLst/>
              <a:ahLst/>
              <a:cxnLst/>
              <a:rect l="l" t="t" r="r" b="b"/>
              <a:pathLst>
                <a:path w="8297" h="8063" extrusionOk="0">
                  <a:moveTo>
                    <a:pt x="4065" y="0"/>
                  </a:moveTo>
                  <a:cubicBezTo>
                    <a:pt x="1787" y="0"/>
                    <a:pt x="337" y="1375"/>
                    <a:pt x="185" y="3766"/>
                  </a:cubicBezTo>
                  <a:cubicBezTo>
                    <a:pt x="0" y="6374"/>
                    <a:pt x="1520" y="7955"/>
                    <a:pt x="4107" y="8058"/>
                  </a:cubicBezTo>
                  <a:cubicBezTo>
                    <a:pt x="4185" y="8061"/>
                    <a:pt x="4262" y="8063"/>
                    <a:pt x="4338" y="8063"/>
                  </a:cubicBezTo>
                  <a:cubicBezTo>
                    <a:pt x="6634" y="8063"/>
                    <a:pt x="7879" y="6564"/>
                    <a:pt x="8297" y="4238"/>
                  </a:cubicBezTo>
                  <a:cubicBezTo>
                    <a:pt x="8174" y="1918"/>
                    <a:pt x="7065" y="275"/>
                    <a:pt x="4641" y="28"/>
                  </a:cubicBezTo>
                  <a:cubicBezTo>
                    <a:pt x="4444" y="10"/>
                    <a:pt x="4251" y="0"/>
                    <a:pt x="4065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22611"/>
            <a:ext cx="7886700" cy="554292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07709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6D2C2A-D035-4B05-A965-DE0E4CADB8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0822F2-F981-49B4-ADB6-051B319A60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3A7DD5-706A-4E4A-AC35-34175B188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7-May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2405A0-5541-4EF6-81C9-CF5AC2FA47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99DC8-FAB4-4C26-90C5-D19F31FA8D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9912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0B138C-ED75-451C-8720-0274C21AB6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FB2919-1BAF-432C-BC86-C5D02D12BD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F3F7D7-4D94-44B3-9959-9335732C40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7-May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B31077-3243-4740-8D3E-19D5542AAA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6F3A6A-4EBF-417D-9810-51BE77A710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1653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esentationgo.com/" TargetMode="Externa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A8F23C-D8D5-3DF3-4FAE-100A940FF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80593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98" imgH="499" progId="TCLayout.ActiveDocument.1">
                  <p:embed/>
                </p:oleObj>
              </mc:Choice>
              <mc:Fallback>
                <p:oleObj name="think-cell Slide" r:id="rId9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715100" y="403575"/>
            <a:ext cx="7713900" cy="58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Amiko"/>
              <a:buNone/>
              <a:defRPr sz="3300">
                <a:solidFill>
                  <a:schemeClr val="dk1"/>
                </a:solidFill>
                <a:latin typeface="Amiko"/>
                <a:ea typeface="Amiko"/>
                <a:cs typeface="Amiko"/>
                <a:sym typeface="Amik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715100" y="1369075"/>
            <a:ext cx="7713900" cy="323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●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○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lvl="2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■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lvl="3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●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lvl="4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○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lvl="5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■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lvl="6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●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lvl="7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○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lvl="8" indent="-3175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Font typeface="Open Sans"/>
              <a:buChar char="■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73" r:id="rId2"/>
    <p:sldLayoutId id="2147483674" r:id="rId3"/>
    <p:sldLayoutId id="2147483675" r:id="rId4"/>
    <p:sldLayoutId id="2147483676" r:id="rId5"/>
    <p:sldLayoutId id="2147483677" r:id="rId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22612"/>
            <a:ext cx="7886700" cy="554292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914401"/>
            <a:ext cx="7886700" cy="37183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4729434"/>
            <a:ext cx="9144000" cy="414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6858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113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ww.</a:t>
            </a:r>
            <a:r>
              <a:rPr kumimoji="0" lang="en-US" sz="2400" b="0" i="0" u="none" strike="noStrike" kern="1200" cap="none" spc="113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esentationgo</a:t>
            </a:r>
            <a:r>
              <a:rPr kumimoji="0" lang="en-US" sz="2400" b="0" i="0" u="none" strike="noStrike" kern="1200" cap="none" spc="113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com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9526" y="5219701"/>
            <a:ext cx="1293944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25" b="0" i="0" dirty="0">
                <a:solidFill>
                  <a:srgbClr val="555555"/>
                </a:solidFill>
                <a:effectLst/>
                <a:latin typeface="Open Sans" panose="020B0606030504020204" pitchFamily="34" charset="0"/>
              </a:rPr>
              <a:t>© </a:t>
            </a:r>
            <a:r>
              <a:rPr lang="en-US" sz="825" b="0" i="0" u="none" strike="noStrike" dirty="0">
                <a:solidFill>
                  <a:srgbClr val="A5CD28"/>
                </a:solidFill>
                <a:effectLst/>
                <a:latin typeface="Open Sans" panose="020B0606030504020204" pitchFamily="34" charset="0"/>
                <a:hlinkClick r:id="rId3" tooltip="PresentationGo!"/>
              </a:rPr>
              <a:t>presentationgo.com</a:t>
            </a:r>
            <a:endParaRPr lang="en-US" sz="825" dirty="0"/>
          </a:p>
        </p:txBody>
      </p:sp>
      <p:sp>
        <p:nvSpPr>
          <p:cNvPr id="13" name="Freeform 12"/>
          <p:cNvSpPr/>
          <p:nvPr userDrawn="1"/>
        </p:nvSpPr>
        <p:spPr>
          <a:xfrm rot="5400000">
            <a:off x="68384" y="130191"/>
            <a:ext cx="277122" cy="428177"/>
          </a:xfrm>
          <a:custGeom>
            <a:avLst/>
            <a:gdLst>
              <a:gd name="connsiteX0" fmla="*/ 210916 w 1034764"/>
              <a:gd name="connsiteY0" fmla="*/ 535701 h 1598797"/>
              <a:gd name="connsiteX1" fmla="*/ 331908 w 1034764"/>
              <a:gd name="connsiteY1" fmla="*/ 284049 h 1598797"/>
              <a:gd name="connsiteX2" fmla="*/ 741774 w 1034764"/>
              <a:gd name="connsiteY2" fmla="*/ 315409 h 1598797"/>
              <a:gd name="connsiteX3" fmla="*/ 403935 w 1034764"/>
              <a:gd name="connsiteY3" fmla="*/ 375418 h 1598797"/>
              <a:gd name="connsiteX4" fmla="*/ 266699 w 1034764"/>
              <a:gd name="connsiteY4" fmla="*/ 689905 h 1598797"/>
              <a:gd name="connsiteX5" fmla="*/ 266698 w 1034764"/>
              <a:gd name="connsiteY5" fmla="*/ 689907 h 1598797"/>
              <a:gd name="connsiteX6" fmla="*/ 210916 w 1034764"/>
              <a:gd name="connsiteY6" fmla="*/ 535701 h 1598797"/>
              <a:gd name="connsiteX7" fmla="*/ 134938 w 1034764"/>
              <a:gd name="connsiteY7" fmla="*/ 517381 h 1598797"/>
              <a:gd name="connsiteX8" fmla="*/ 517383 w 1034764"/>
              <a:gd name="connsiteY8" fmla="*/ 899826 h 1598797"/>
              <a:gd name="connsiteX9" fmla="*/ 899828 w 1034764"/>
              <a:gd name="connsiteY9" fmla="*/ 517381 h 1598797"/>
              <a:gd name="connsiteX10" fmla="*/ 517383 w 1034764"/>
              <a:gd name="connsiteY10" fmla="*/ 134936 h 1598797"/>
              <a:gd name="connsiteX11" fmla="*/ 134938 w 1034764"/>
              <a:gd name="connsiteY11" fmla="*/ 517381 h 1598797"/>
              <a:gd name="connsiteX12" fmla="*/ 0 w 1034764"/>
              <a:gd name="connsiteY12" fmla="*/ 517382 h 1598797"/>
              <a:gd name="connsiteX13" fmla="*/ 517382 w 1034764"/>
              <a:gd name="connsiteY13" fmla="*/ 0 h 1598797"/>
              <a:gd name="connsiteX14" fmla="*/ 1034764 w 1034764"/>
              <a:gd name="connsiteY14" fmla="*/ 517382 h 1598797"/>
              <a:gd name="connsiteX15" fmla="*/ 621653 w 1034764"/>
              <a:gd name="connsiteY15" fmla="*/ 1024253 h 1598797"/>
              <a:gd name="connsiteX16" fmla="*/ 620527 w 1034764"/>
              <a:gd name="connsiteY16" fmla="*/ 1024366 h 1598797"/>
              <a:gd name="connsiteX17" fmla="*/ 662992 w 1034764"/>
              <a:gd name="connsiteY17" fmla="*/ 1598797 h 1598797"/>
              <a:gd name="connsiteX18" fmla="*/ 371775 w 1034764"/>
              <a:gd name="connsiteY18" fmla="*/ 1598797 h 1598797"/>
              <a:gd name="connsiteX19" fmla="*/ 414241 w 1034764"/>
              <a:gd name="connsiteY19" fmla="*/ 1024367 h 1598797"/>
              <a:gd name="connsiteX20" fmla="*/ 413112 w 1034764"/>
              <a:gd name="connsiteY20" fmla="*/ 1024253 h 1598797"/>
              <a:gd name="connsiteX21" fmla="*/ 0 w 1034764"/>
              <a:gd name="connsiteY21" fmla="*/ 517382 h 1598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4764" h="1598797">
                <a:moveTo>
                  <a:pt x="210916" y="535701"/>
                </a:moveTo>
                <a:cubicBezTo>
                  <a:pt x="207764" y="443901"/>
                  <a:pt x="249915" y="348683"/>
                  <a:pt x="331908" y="284049"/>
                </a:cubicBezTo>
                <a:cubicBezTo>
                  <a:pt x="463097" y="180634"/>
                  <a:pt x="646600" y="194675"/>
                  <a:pt x="741774" y="315409"/>
                </a:cubicBezTo>
                <a:cubicBezTo>
                  <a:pt x="631231" y="275026"/>
                  <a:pt x="502220" y="297941"/>
                  <a:pt x="403935" y="375418"/>
                </a:cubicBezTo>
                <a:cubicBezTo>
                  <a:pt x="305650" y="452895"/>
                  <a:pt x="253243" y="572989"/>
                  <a:pt x="266699" y="689905"/>
                </a:cubicBezTo>
                <a:lnTo>
                  <a:pt x="266698" y="689907"/>
                </a:lnTo>
                <a:cubicBezTo>
                  <a:pt x="231008" y="644631"/>
                  <a:pt x="212807" y="590781"/>
                  <a:pt x="210916" y="535701"/>
                </a:cubicBezTo>
                <a:close/>
                <a:moveTo>
                  <a:pt x="134938" y="517381"/>
                </a:moveTo>
                <a:cubicBezTo>
                  <a:pt x="134938" y="728600"/>
                  <a:pt x="306164" y="899826"/>
                  <a:pt x="517383" y="899826"/>
                </a:cubicBezTo>
                <a:cubicBezTo>
                  <a:pt x="728602" y="899826"/>
                  <a:pt x="899828" y="728600"/>
                  <a:pt x="899828" y="517381"/>
                </a:cubicBezTo>
                <a:cubicBezTo>
                  <a:pt x="899828" y="306162"/>
                  <a:pt x="728602" y="134936"/>
                  <a:pt x="517383" y="134936"/>
                </a:cubicBezTo>
                <a:cubicBezTo>
                  <a:pt x="306164" y="134936"/>
                  <a:pt x="134938" y="306162"/>
                  <a:pt x="134938" y="517381"/>
                </a:cubicBezTo>
                <a:close/>
                <a:moveTo>
                  <a:pt x="0" y="517382"/>
                </a:moveTo>
                <a:cubicBezTo>
                  <a:pt x="0" y="231640"/>
                  <a:pt x="231640" y="0"/>
                  <a:pt x="517382" y="0"/>
                </a:cubicBezTo>
                <a:cubicBezTo>
                  <a:pt x="803124" y="0"/>
                  <a:pt x="1034764" y="231640"/>
                  <a:pt x="1034764" y="517382"/>
                </a:cubicBezTo>
                <a:cubicBezTo>
                  <a:pt x="1034764" y="767406"/>
                  <a:pt x="857415" y="976008"/>
                  <a:pt x="621653" y="1024253"/>
                </a:cubicBezTo>
                <a:lnTo>
                  <a:pt x="620527" y="1024366"/>
                </a:lnTo>
                <a:lnTo>
                  <a:pt x="662992" y="1598797"/>
                </a:lnTo>
                <a:lnTo>
                  <a:pt x="371775" y="1598797"/>
                </a:lnTo>
                <a:lnTo>
                  <a:pt x="414241" y="1024367"/>
                </a:lnTo>
                <a:lnTo>
                  <a:pt x="413112" y="1024253"/>
                </a:lnTo>
                <a:cubicBezTo>
                  <a:pt x="177349" y="976008"/>
                  <a:pt x="0" y="767406"/>
                  <a:pt x="0" y="5173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" dist="127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1241181" y="-12491"/>
            <a:ext cx="1225058" cy="482192"/>
            <a:chOff x="-2096383" y="21447"/>
            <a:chExt cx="1633411" cy="642922"/>
          </a:xfrm>
        </p:grpSpPr>
        <p:sp>
          <p:nvSpPr>
            <p:cNvPr id="15" name="TextBox 14"/>
            <p:cNvSpPr txBox="1"/>
            <p:nvPr userDrawn="1"/>
          </p:nvSpPr>
          <p:spPr>
            <a:xfrm>
              <a:off x="-2096383" y="21447"/>
              <a:ext cx="4278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5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y:</a:t>
              </a: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-1002009" y="387370"/>
              <a:ext cx="5390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5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com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2018604" y="234547"/>
              <a:ext cx="1405251" cy="185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44229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2700" b="1" kern="1200">
          <a:solidFill>
            <a:schemeClr val="tx1"/>
          </a:solidFill>
          <a:latin typeface="Helvetica" panose="020B0500000000000000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j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019E76-F830-4633-9D2F-032AFBC54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35A056-AED7-4C02-A463-0AF27CC9CF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EBCCD1-A4FC-43C9-9349-50C5CBC3D6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14DCC4-8D9E-451B-A36E-68D2E5BC6906}" type="datetimeFigureOut">
              <a:rPr lang="en-US" smtClean="0"/>
              <a:t>27-May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BA66DF-2B01-4261-9353-A64EB08561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CF0F46-851F-412E-9634-8981ECF92A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283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mailto:bharuno.mahesworo@binus.ac.id" TargetMode="Externa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133680-4853-D341-8E6B-B4DC1EBDF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857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3" name="Google Shape;523;p35"/>
          <p:cNvSpPr txBox="1">
            <a:spLocks noGrp="1"/>
          </p:cNvSpPr>
          <p:nvPr>
            <p:ph type="ctrTitle"/>
          </p:nvPr>
        </p:nvSpPr>
        <p:spPr>
          <a:xfrm>
            <a:off x="608193" y="367806"/>
            <a:ext cx="4305000" cy="941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ATH</a:t>
            </a:r>
            <a:endParaRPr dirty="0">
              <a:solidFill>
                <a:schemeClr val="accent1"/>
              </a:solidFill>
            </a:endParaRPr>
          </a:p>
        </p:txBody>
      </p:sp>
      <p:sp>
        <p:nvSpPr>
          <p:cNvPr id="524" name="Google Shape;524;p35"/>
          <p:cNvSpPr txBox="1">
            <a:spLocks noGrp="1"/>
          </p:cNvSpPr>
          <p:nvPr>
            <p:ph type="subTitle" idx="1"/>
          </p:nvPr>
        </p:nvSpPr>
        <p:spPr>
          <a:xfrm>
            <a:off x="638900" y="4061556"/>
            <a:ext cx="2278200" cy="591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LAB 4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Bharuno Mahesworo</a:t>
            </a:r>
            <a:endParaRPr dirty="0"/>
          </a:p>
        </p:txBody>
      </p:sp>
      <p:sp>
        <p:nvSpPr>
          <p:cNvPr id="525" name="Google Shape;525;p35"/>
          <p:cNvSpPr txBox="1">
            <a:spLocks noGrp="1"/>
          </p:cNvSpPr>
          <p:nvPr>
            <p:ph type="subTitle" idx="3"/>
          </p:nvPr>
        </p:nvSpPr>
        <p:spPr>
          <a:xfrm>
            <a:off x="608193" y="1271124"/>
            <a:ext cx="4305000" cy="1114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3700" dirty="0"/>
              <a:t>Machine Learning</a:t>
            </a:r>
            <a:endParaRPr sz="3150" dirty="0"/>
          </a:p>
        </p:txBody>
      </p:sp>
      <p:cxnSp>
        <p:nvCxnSpPr>
          <p:cNvPr id="526" name="Google Shape;526;p35"/>
          <p:cNvCxnSpPr/>
          <p:nvPr/>
        </p:nvCxnSpPr>
        <p:spPr>
          <a:xfrm>
            <a:off x="-18050" y="2571750"/>
            <a:ext cx="4693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0" y="342900"/>
            <a:ext cx="4629149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How to LAB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547ADF-139C-AA21-215E-1F7A97899B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840" y="1229032"/>
            <a:ext cx="4629150" cy="3571568"/>
          </a:xfrm>
        </p:spPr>
        <p:txBody>
          <a:bodyPr>
            <a:normAutofit fontScale="92500" lnSpcReduction="10000"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wnload this PPT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llow the instruction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reen shoot your code and its result of </a:t>
            </a:r>
            <a:r>
              <a:rPr lang="en-US" sz="1800" b="1" dirty="0">
                <a:solidFill>
                  <a:srgbClr val="C00000"/>
                </a:solidFill>
              </a:rPr>
              <a:t>each instruction</a:t>
            </a: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n put it on the instruction slide.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mit your slide deck and notebook file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oogling is permitted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ing Communication platform (email, discord, social media, etc.) is prohibited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E99CB7-E293-2568-E4CD-3DB5149B50EE}"/>
              </a:ext>
            </a:extLst>
          </p:cNvPr>
          <p:cNvSpPr txBox="1"/>
          <p:nvPr/>
        </p:nvSpPr>
        <p:spPr>
          <a:xfrm>
            <a:off x="5336380" y="1152832"/>
            <a:ext cx="3429001" cy="32624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Submit to: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  <a:hlinkClick r:id="rId2"/>
              </a:rPr>
              <a:t>bharuno.mahesworo@binus.ac.id</a:t>
            </a: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Before the end of the LAB.</a:t>
            </a:r>
          </a:p>
          <a:p>
            <a:pPr marL="0" indent="0">
              <a:buNone/>
            </a:pP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Subject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: ML_(class code)_(LAB session)_NIM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Example: ML_LZ99_LAB1_12345</a:t>
            </a:r>
          </a:p>
          <a:p>
            <a:pPr marL="0" indent="0">
              <a:buNone/>
            </a:pP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File name format: ML_(class code)_(LAB session)_NIM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Example: ML_LZ99_LAB1_12345</a:t>
            </a:r>
          </a:p>
          <a:p>
            <a:pPr marL="0" indent="0">
              <a:buNone/>
            </a:pP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876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Print Hello World 5 times using loop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60ECC9F-A346-FEC7-61E7-52DAD2FB237E}"/>
              </a:ext>
            </a:extLst>
          </p:cNvPr>
          <p:cNvSpPr txBox="1"/>
          <p:nvPr/>
        </p:nvSpPr>
        <p:spPr>
          <a:xfrm>
            <a:off x="57150" y="46136"/>
            <a:ext cx="914400" cy="30777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Examp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0D912A-800A-5D8C-39B0-97B6A7C4B148}"/>
              </a:ext>
            </a:extLst>
          </p:cNvPr>
          <p:cNvSpPr txBox="1"/>
          <p:nvPr/>
        </p:nvSpPr>
        <p:spPr>
          <a:xfrm>
            <a:off x="6306738" y="632517"/>
            <a:ext cx="1092994" cy="3077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Instruc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4B0A42-8BFC-F9AE-1386-901545468143}"/>
              </a:ext>
            </a:extLst>
          </p:cNvPr>
          <p:cNvSpPr txBox="1"/>
          <p:nvPr/>
        </p:nvSpPr>
        <p:spPr>
          <a:xfrm>
            <a:off x="4924424" y="1653479"/>
            <a:ext cx="1990726" cy="3077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Your compiled codes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4D2FAFD4-AD02-61AF-DE82-6160F1BC0F51}"/>
              </a:ext>
            </a:extLst>
          </p:cNvPr>
          <p:cNvCxnSpPr/>
          <p:nvPr/>
        </p:nvCxnSpPr>
        <p:spPr>
          <a:xfrm>
            <a:off x="5592363" y="786405"/>
            <a:ext cx="614362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68863A4B-3A0D-7900-BC11-65F7F9264917}"/>
              </a:ext>
            </a:extLst>
          </p:cNvPr>
          <p:cNvCxnSpPr/>
          <p:nvPr/>
        </p:nvCxnSpPr>
        <p:spPr>
          <a:xfrm>
            <a:off x="4114801" y="1807367"/>
            <a:ext cx="614362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3321242-DBD4-8080-450D-6419BF0AB181}"/>
              </a:ext>
            </a:extLst>
          </p:cNvPr>
          <p:cNvSpPr txBox="1"/>
          <p:nvPr/>
        </p:nvSpPr>
        <p:spPr>
          <a:xfrm>
            <a:off x="7589042" y="3537046"/>
            <a:ext cx="509589" cy="3077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hi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837165B-C664-664D-A552-3D60F52D0A35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for loops or while loops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0215509C-4F30-CA55-7685-28BD40319870}"/>
              </a:ext>
            </a:extLst>
          </p:cNvPr>
          <p:cNvCxnSpPr>
            <a:cxnSpLocks/>
          </p:cNvCxnSpPr>
          <p:nvPr/>
        </p:nvCxnSpPr>
        <p:spPr>
          <a:xfrm flipV="1">
            <a:off x="7843837" y="3991867"/>
            <a:ext cx="0" cy="491133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C1B3CEA7-BF42-1ABF-142A-C26F756BFB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140" y="1185859"/>
            <a:ext cx="3581400" cy="250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7912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0" y="342900"/>
            <a:ext cx="5887838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LAB 4 – Ensemble Model Classif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547ADF-139C-AA21-215E-1F7A97899B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840" y="1229032"/>
            <a:ext cx="4629150" cy="35715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>
                <a:solidFill>
                  <a:schemeClr val="accent1">
                    <a:lumMod val="50000"/>
                  </a:schemeClr>
                </a:solidFill>
              </a:rPr>
              <a:t>The objective 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s to classify unbalanced dataset. “dataset_lab4.xlsx” can be downloaded from </a:t>
            </a:r>
            <a:r>
              <a:rPr lang="en-US" sz="18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inusmaya</a:t>
            </a:r>
            <a:endParaRPr lang="en-US" sz="18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b="1" dirty="0">
                <a:solidFill>
                  <a:schemeClr val="accent1">
                    <a:lumMod val="50000"/>
                  </a:schemeClr>
                </a:solidFill>
              </a:rPr>
              <a:t>Target Variable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arget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0 or 1</a:t>
            </a:r>
          </a:p>
        </p:txBody>
      </p:sp>
    </p:spTree>
    <p:extLst>
      <p:ext uri="{BB962C8B-B14F-4D97-AF65-F5344CB8AC3E}">
        <p14:creationId xmlns:p14="http://schemas.microsoft.com/office/powerpoint/2010/main" val="26713147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Autofit/>
          </a:bodyPr>
          <a:lstStyle/>
          <a:p>
            <a:r>
              <a:rPr lang="en-US" sz="2000" b="1" dirty="0"/>
              <a:t>1. Make an ensemble model with the goal of getting the highest possible F1 score for the class – 1 target variable on validation performance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712B10-A3E7-9971-0AEB-5A69CF87050B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38EE514-ECA6-539C-9C14-7648F996F0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3622" y="887873"/>
            <a:ext cx="4852435" cy="3972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8940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rban Construction Company Profile by Slidesgo">
  <a:themeElements>
    <a:clrScheme name="Simple Light">
      <a:dk1>
        <a:srgbClr val="000000"/>
      </a:dk1>
      <a:lt1>
        <a:srgbClr val="FFFFFF"/>
      </a:lt1>
      <a:dk2>
        <a:srgbClr val="DDDDDD"/>
      </a:dk2>
      <a:lt2>
        <a:srgbClr val="999999"/>
      </a:lt2>
      <a:accent1>
        <a:srgbClr val="003852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plate PresentationGo">
  <a:themeElements>
    <a:clrScheme name="PGO">
      <a:dk1>
        <a:sysClr val="windowText" lastClr="000000"/>
      </a:dk1>
      <a:lt1>
        <a:sysClr val="window" lastClr="FFFFFF"/>
      </a:lt1>
      <a:dk2>
        <a:srgbClr val="063951"/>
      </a:dk2>
      <a:lt2>
        <a:srgbClr val="F0EEEF"/>
      </a:lt2>
      <a:accent1>
        <a:srgbClr val="00B09B"/>
      </a:accent1>
      <a:accent2>
        <a:srgbClr val="F36F13"/>
      </a:accent2>
      <a:accent3>
        <a:srgbClr val="0D95BC"/>
      </a:accent3>
      <a:accent4>
        <a:srgbClr val="EBCB38"/>
      </a:accent4>
      <a:accent5>
        <a:srgbClr val="C13018"/>
      </a:accent5>
      <a:accent6>
        <a:srgbClr val="A2B969"/>
      </a:accent6>
      <a:hlink>
        <a:srgbClr val="6C2B43"/>
      </a:hlink>
      <a:folHlink>
        <a:srgbClr val="6C2B43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79</TotalTime>
  <Words>196</Words>
  <Application>Microsoft Office PowerPoint</Application>
  <PresentationFormat>On-screen Show (16:9)</PresentationFormat>
  <Paragraphs>36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7" baseType="lpstr">
      <vt:lpstr>Arial</vt:lpstr>
      <vt:lpstr>Calibri</vt:lpstr>
      <vt:lpstr>Open Sans</vt:lpstr>
      <vt:lpstr>Bebas Neue</vt:lpstr>
      <vt:lpstr>Helvetica</vt:lpstr>
      <vt:lpstr>Amiko</vt:lpstr>
      <vt:lpstr>Calibri Light</vt:lpstr>
      <vt:lpstr>Barlow ExtraBold</vt:lpstr>
      <vt:lpstr>Urban Construction Company Profile by Slidesgo</vt:lpstr>
      <vt:lpstr>Template PresentationGo</vt:lpstr>
      <vt:lpstr>1_Office Theme</vt:lpstr>
      <vt:lpstr>think-cell Slide</vt:lpstr>
      <vt:lpstr>MATH</vt:lpstr>
      <vt:lpstr>How to LAB?</vt:lpstr>
      <vt:lpstr>Print Hello World 5 times using loops </vt:lpstr>
      <vt:lpstr>LAB 4 – Ensemble Model Classification</vt:lpstr>
      <vt:lpstr>1. Make an ensemble model with the goal of getting the highest possible F1 score for the class – 1 target variable on validation performance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TH</dc:title>
  <dc:creator>BHARUNO PC</dc:creator>
  <cp:lastModifiedBy>ALBERT GABRIEL TUWAN</cp:lastModifiedBy>
  <cp:revision>39</cp:revision>
  <dcterms:modified xsi:type="dcterms:W3CDTF">2023-05-27T03:53:35Z</dcterms:modified>
</cp:coreProperties>
</file>